
<file path=[Content_Types].xml><?xml version="1.0" encoding="utf-8"?>
<Types xmlns="http://schemas.openxmlformats.org/package/2006/content-types"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6" r:id="rId2"/>
  </p:sld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553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6" r:id="rId24"/>
    <p:sldId id="277" r:id="rId25"/>
    <p:sldId id="278" r:id="rId26"/>
    <p:sldId id="279" r:id="rId27"/>
    <p:sldId id="280" r:id="rId28"/>
  </p:sldIdLst>
  <p:sldSz cx="12192000" cy="6858000"/>
  <p:notesSz cx="12192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FB4C460-398C-4A9B-83B9-9483731FAA80}" v="221" dt="2024-09-11T14:53:46.820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8" d="100"/>
          <a:sy n="108" d="100"/>
        </p:scale>
        <p:origin x="678" y="102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microsoft.com/office/2015/10/relationships/revisionInfo" Target="revisionInfo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viewProps" Target="viewProps.xml"/><Relationship Id="rId8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lanc, Ruth" userId="5217342c-ff96-43b0-8a82-dcd564147be6" providerId="ADAL" clId="{4FB4C460-398C-4A9B-83B9-9483731FAA80}"/>
    <pc:docChg chg="undo custSel addSld delSld modSld">
      <pc:chgData name="Blanc, Ruth" userId="5217342c-ff96-43b0-8a82-dcd564147be6" providerId="ADAL" clId="{4FB4C460-398C-4A9B-83B9-9483731FAA80}" dt="2024-09-11T14:53:46.820" v="402" actId="114"/>
      <pc:docMkLst>
        <pc:docMk/>
      </pc:docMkLst>
      <pc:sldChg chg="modSp mod">
        <pc:chgData name="Blanc, Ruth" userId="5217342c-ff96-43b0-8a82-dcd564147be6" providerId="ADAL" clId="{4FB4C460-398C-4A9B-83B9-9483731FAA80}" dt="2024-09-11T14:09:47.225" v="10" actId="1076"/>
        <pc:sldMkLst>
          <pc:docMk/>
          <pc:sldMk cId="0" sldId="263"/>
        </pc:sldMkLst>
        <pc:spChg chg="mod">
          <ac:chgData name="Blanc, Ruth" userId="5217342c-ff96-43b0-8a82-dcd564147be6" providerId="ADAL" clId="{4FB4C460-398C-4A9B-83B9-9483731FAA80}" dt="2024-09-11T14:09:47.225" v="10" actId="1076"/>
          <ac:spMkLst>
            <pc:docMk/>
            <pc:sldMk cId="0" sldId="263"/>
            <ac:spMk id="3" creationId="{00000000-0000-0000-0000-000000000000}"/>
          </ac:spMkLst>
        </pc:spChg>
      </pc:sldChg>
      <pc:sldChg chg="modSp mod">
        <pc:chgData name="Blanc, Ruth" userId="5217342c-ff96-43b0-8a82-dcd564147be6" providerId="ADAL" clId="{4FB4C460-398C-4A9B-83B9-9483731FAA80}" dt="2024-09-11T14:11:41.172" v="25" actId="255"/>
        <pc:sldMkLst>
          <pc:docMk/>
          <pc:sldMk cId="0" sldId="266"/>
        </pc:sldMkLst>
        <pc:spChg chg="mod">
          <ac:chgData name="Blanc, Ruth" userId="5217342c-ff96-43b0-8a82-dcd564147be6" providerId="ADAL" clId="{4FB4C460-398C-4A9B-83B9-9483731FAA80}" dt="2024-09-11T14:11:06.022" v="21" actId="1076"/>
          <ac:spMkLst>
            <pc:docMk/>
            <pc:sldMk cId="0" sldId="266"/>
            <ac:spMk id="5" creationId="{00000000-0000-0000-0000-000000000000}"/>
          </ac:spMkLst>
        </pc:spChg>
        <pc:spChg chg="mod">
          <ac:chgData name="Blanc, Ruth" userId="5217342c-ff96-43b0-8a82-dcd564147be6" providerId="ADAL" clId="{4FB4C460-398C-4A9B-83B9-9483731FAA80}" dt="2024-09-11T14:11:41.172" v="25" actId="255"/>
          <ac:spMkLst>
            <pc:docMk/>
            <pc:sldMk cId="0" sldId="266"/>
            <ac:spMk id="6" creationId="{00000000-0000-0000-0000-000000000000}"/>
          </ac:spMkLst>
        </pc:spChg>
        <pc:grpChg chg="mod">
          <ac:chgData name="Blanc, Ruth" userId="5217342c-ff96-43b0-8a82-dcd564147be6" providerId="ADAL" clId="{4FB4C460-398C-4A9B-83B9-9483731FAA80}" dt="2024-09-11T14:10:48.426" v="19" actId="1076"/>
          <ac:grpSpMkLst>
            <pc:docMk/>
            <pc:sldMk cId="0" sldId="266"/>
            <ac:grpSpMk id="2" creationId="{00000000-0000-0000-0000-000000000000}"/>
          </ac:grpSpMkLst>
        </pc:grpChg>
      </pc:sldChg>
      <pc:sldChg chg="delSp new del mod">
        <pc:chgData name="Blanc, Ruth" userId="5217342c-ff96-43b0-8a82-dcd564147be6" providerId="ADAL" clId="{4FB4C460-398C-4A9B-83B9-9483731FAA80}" dt="2024-09-11T14:13:01.495" v="30" actId="47"/>
        <pc:sldMkLst>
          <pc:docMk/>
          <pc:sldMk cId="1760146543" sldId="281"/>
        </pc:sldMkLst>
        <pc:spChg chg="del">
          <ac:chgData name="Blanc, Ruth" userId="5217342c-ff96-43b0-8a82-dcd564147be6" providerId="ADAL" clId="{4FB4C460-398C-4A9B-83B9-9483731FAA80}" dt="2024-09-11T14:12:50.294" v="28" actId="478"/>
          <ac:spMkLst>
            <pc:docMk/>
            <pc:sldMk cId="1760146543" sldId="281"/>
            <ac:spMk id="2" creationId="{E63B83D9-6985-2F00-7640-971567D70374}"/>
          </ac:spMkLst>
        </pc:spChg>
        <pc:spChg chg="del">
          <ac:chgData name="Blanc, Ruth" userId="5217342c-ff96-43b0-8a82-dcd564147be6" providerId="ADAL" clId="{4FB4C460-398C-4A9B-83B9-9483731FAA80}" dt="2024-09-11T14:12:47.604" v="27" actId="478"/>
          <ac:spMkLst>
            <pc:docMk/>
            <pc:sldMk cId="1760146543" sldId="281"/>
            <ac:spMk id="3" creationId="{D12E6FA6-BBBC-0C12-EBFE-80A0254ACEB2}"/>
          </ac:spMkLst>
        </pc:spChg>
      </pc:sldChg>
      <pc:sldChg chg="addSp delSp modSp add mod modAnim">
        <pc:chgData name="Blanc, Ruth" userId="5217342c-ff96-43b0-8a82-dcd564147be6" providerId="ADAL" clId="{4FB4C460-398C-4A9B-83B9-9483731FAA80}" dt="2024-09-11T14:53:46.820" v="402" actId="114"/>
        <pc:sldMkLst>
          <pc:docMk/>
          <pc:sldMk cId="1478802415" sldId="2553"/>
        </pc:sldMkLst>
        <pc:spChg chg="del mod">
          <ac:chgData name="Blanc, Ruth" userId="5217342c-ff96-43b0-8a82-dcd564147be6" providerId="ADAL" clId="{4FB4C460-398C-4A9B-83B9-9483731FAA80}" dt="2024-09-11T14:17:03.927" v="61" actId="478"/>
          <ac:spMkLst>
            <pc:docMk/>
            <pc:sldMk cId="1478802415" sldId="2553"/>
            <ac:spMk id="2" creationId="{1133C721-364C-4F21-82E0-F25E8D5CA8CF}"/>
          </ac:spMkLst>
        </pc:spChg>
        <pc:spChg chg="mod">
          <ac:chgData name="Blanc, Ruth" userId="5217342c-ff96-43b0-8a82-dcd564147be6" providerId="ADAL" clId="{4FB4C460-398C-4A9B-83B9-9483731FAA80}" dt="2024-09-11T14:53:46.820" v="402" actId="114"/>
          <ac:spMkLst>
            <pc:docMk/>
            <pc:sldMk cId="1478802415" sldId="2553"/>
            <ac:spMk id="3" creationId="{798A5524-68E9-44B6-B355-3D577301A823}"/>
          </ac:spMkLst>
        </pc:spChg>
        <pc:spChg chg="add mod">
          <ac:chgData name="Blanc, Ruth" userId="5217342c-ff96-43b0-8a82-dcd564147be6" providerId="ADAL" clId="{4FB4C460-398C-4A9B-83B9-9483731FAA80}" dt="2024-09-11T14:17:24.717" v="64" actId="113"/>
          <ac:spMkLst>
            <pc:docMk/>
            <pc:sldMk cId="1478802415" sldId="2553"/>
            <ac:spMk id="5" creationId="{BFBBF13C-7404-F4E6-74F0-A4EEE4A9ACE1}"/>
          </ac:spMkLst>
        </pc:spChg>
        <pc:spChg chg="add del mod">
          <ac:chgData name="Blanc, Ruth" userId="5217342c-ff96-43b0-8a82-dcd564147be6" providerId="ADAL" clId="{4FB4C460-398C-4A9B-83B9-9483731FAA80}" dt="2024-09-11T14:35:29.955" v="176"/>
          <ac:spMkLst>
            <pc:docMk/>
            <pc:sldMk cId="1478802415" sldId="2553"/>
            <ac:spMk id="6" creationId="{9302EC9C-5E13-EC13-09A4-FADA3F2BCF60}"/>
          </ac:spMkLst>
        </pc:spChg>
        <pc:spChg chg="add mod">
          <ac:chgData name="Blanc, Ruth" userId="5217342c-ff96-43b0-8a82-dcd564147be6" providerId="ADAL" clId="{4FB4C460-398C-4A9B-83B9-9483731FAA80}" dt="2024-09-11T14:51:41.275" v="360" actId="14100"/>
          <ac:spMkLst>
            <pc:docMk/>
            <pc:sldMk cId="1478802415" sldId="2553"/>
            <ac:spMk id="10" creationId="{DB90512F-4DD6-B370-DA83-E9B6935276EC}"/>
          </ac:spMkLst>
        </pc:spChg>
        <pc:spChg chg="add mod">
          <ac:chgData name="Blanc, Ruth" userId="5217342c-ff96-43b0-8a82-dcd564147be6" providerId="ADAL" clId="{4FB4C460-398C-4A9B-83B9-9483731FAA80}" dt="2024-09-11T14:52:55.038" v="396" actId="113"/>
          <ac:spMkLst>
            <pc:docMk/>
            <pc:sldMk cId="1478802415" sldId="2553"/>
            <ac:spMk id="11" creationId="{99AE261B-BD31-B59F-8782-951D124C38E3}"/>
          </ac:spMkLst>
        </pc:spChg>
        <pc:picChg chg="add del mod">
          <ac:chgData name="Blanc, Ruth" userId="5217342c-ff96-43b0-8a82-dcd564147be6" providerId="ADAL" clId="{4FB4C460-398C-4A9B-83B9-9483731FAA80}" dt="2024-09-11T14:36:22.621" v="179" actId="478"/>
          <ac:picMkLst>
            <pc:docMk/>
            <pc:sldMk cId="1478802415" sldId="2553"/>
            <ac:picMk id="8" creationId="{02244310-7410-4168-4CFD-EF838B936B1E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00070E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11343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16535" y="-7"/>
            <a:ext cx="7358930" cy="954367"/>
          </a:xfrm>
        </p:spPr>
        <p:txBody>
          <a:bodyPr anchor="b"/>
          <a:lstStyle>
            <a:lvl1pPr>
              <a:defRPr sz="4800"/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E67E9C-E402-346E-D079-EA211EC5B3E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416535" y="1562581"/>
            <a:ext cx="7358930" cy="43410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0549700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61804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1525856" y="2218275"/>
            <a:ext cx="2208862" cy="2012202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847" y="2069176"/>
            <a:ext cx="7358930" cy="2605497"/>
          </a:xfrm>
        </p:spPr>
        <p:txBody>
          <a:bodyPr/>
          <a:lstStyle>
            <a:lvl1pPr>
              <a:defRPr sz="8800"/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Section Divider Title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735069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8"/>
            <a:ext cx="12192000" cy="68580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FA46D8F-B440-E6A5-259A-83D6CA5AD8A3}"/>
              </a:ext>
            </a:extLst>
          </p:cNvPr>
          <p:cNvSpPr/>
          <p:nvPr userDrawn="1"/>
        </p:nvSpPr>
        <p:spPr>
          <a:xfrm>
            <a:off x="-1007378" y="-8"/>
            <a:ext cx="7528264" cy="6858007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100" y="762924"/>
            <a:ext cx="10645799" cy="5332141"/>
          </a:xfrm>
        </p:spPr>
        <p:txBody>
          <a:bodyPr anchor="ctr"/>
          <a:lstStyle>
            <a:lvl1pPr algn="ctr">
              <a:defRPr sz="8800"/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Section Divider 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C12642B-675C-7DE1-4488-91874ACAA2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48862" y="6081408"/>
            <a:ext cx="3404212" cy="77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727725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8"/>
            <a:ext cx="12192000" cy="67627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38701" y="3153569"/>
            <a:ext cx="6972300" cy="3017457"/>
          </a:xfrm>
        </p:spPr>
        <p:txBody>
          <a:bodyPr anchor="t"/>
          <a:lstStyle>
            <a:lvl1pPr algn="l">
              <a:defRPr sz="7200"/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Divider Title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C50BB4F-171F-D597-7B63-B8CF4EBC6166}"/>
              </a:ext>
            </a:extLst>
          </p:cNvPr>
          <p:cNvSpPr/>
          <p:nvPr userDrawn="1"/>
        </p:nvSpPr>
        <p:spPr>
          <a:xfrm>
            <a:off x="-991238" y="0"/>
            <a:ext cx="7547159" cy="6858000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F663189-B689-FA7E-C80E-C085E30F51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6081408"/>
            <a:ext cx="3404212" cy="77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406817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B9D0C7-EB8D-AB4F-849C-A73E2AB3DA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11341100" cy="107899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err="1"/>
              <a:t>TexT</a:t>
            </a:r>
            <a:r>
              <a:rPr lang="en-US"/>
              <a:t> Slid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B6CE22-FB8D-D242-AFD3-862C54D6A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DB114FE-8B7D-E146-A724-04992485DD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1341100" cy="45886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3555061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for L&amp;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B9D0C7-EB8D-AB4F-849C-A73E2AB3DA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11341100" cy="107899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Ic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B6CE22-FB8D-D242-AFD3-862C54D6A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DB114FE-8B7D-E146-A724-04992485DD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1600"/>
            <a:ext cx="11341100" cy="45886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56305395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18282"/>
            <a:ext cx="11338560" cy="492125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/>
              <a:t>Multimedia Slide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2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Rectangle 20" hidden="1"/>
          <p:cNvSpPr/>
          <p:nvPr userDrawn="1">
            <p:custDataLst>
              <p:tags r:id="rId3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Rectangle 21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Rectangle 22" hidden="1"/>
          <p:cNvSpPr/>
          <p:nvPr userDrawn="1">
            <p:custDataLst>
              <p:tags r:id="rId5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B9C91F6-19A4-60D8-C2FA-A0CB4D8E4B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52610"/>
            <a:ext cx="11338560" cy="43402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2318170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5" y="3868738"/>
            <a:ext cx="10628960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subhead in 16 pt orange | Max two lines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5163312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18282"/>
            <a:ext cx="11338560" cy="492125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/>
              <a:t>One Icon Layout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41F8632-57B2-5648-DB17-D31A1B2360BD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784512" y="4401689"/>
            <a:ext cx="10628959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835219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4" y="3868738"/>
            <a:ext cx="4977306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subhead in 16 pt orange | Max two lines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30182" y="3865340"/>
            <a:ext cx="4977308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subhead in 16 pt orange | Max two lines</a:t>
            </a:r>
          </a:p>
        </p:txBody>
      </p:sp>
      <p:sp>
        <p:nvSpPr>
          <p:cNvPr id="11" name="Circle 2"/>
          <p:cNvSpPr>
            <a:spLocks noGrp="1"/>
          </p:cNvSpPr>
          <p:nvPr>
            <p:ph type="body" sz="quarter" idx="15" hasCustomPrompt="1"/>
          </p:nvPr>
        </p:nvSpPr>
        <p:spPr>
          <a:xfrm>
            <a:off x="7986148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Place icon here. To hide this text, place cursor then hit space bar. Duplicate or delete as needed.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2340478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18282"/>
            <a:ext cx="11338560" cy="492125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/>
              <a:t>Two Icons layout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6C14E0A-FF23-51E3-9DFF-15FEF58154A7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784510" y="4401689"/>
            <a:ext cx="4977309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ADC5170-75F4-51FC-412C-B1A10CBA2C2D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430181" y="4401689"/>
            <a:ext cx="4977309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206678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4" y="3868738"/>
            <a:ext cx="3335482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subhead in 16 pt orange | Max two lines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6843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subhead in 16 pt orange | Max two lines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75761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ype subhead in 16 pt orange | Max two lines</a:t>
            </a:r>
          </a:p>
        </p:txBody>
      </p:sp>
      <p:sp>
        <p:nvSpPr>
          <p:cNvPr id="12" name="Circle 3"/>
          <p:cNvSpPr>
            <a:spLocks noGrp="1"/>
          </p:cNvSpPr>
          <p:nvPr>
            <p:ph type="body" sz="quarter" idx="16" hasCustomPrompt="1"/>
          </p:nvPr>
        </p:nvSpPr>
        <p:spPr>
          <a:xfrm>
            <a:off x="8910814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Place icon here. To hide this text, place cursor then hit space bar. Duplicate or delete as needed.</a:t>
            </a:r>
          </a:p>
        </p:txBody>
      </p:sp>
      <p:sp>
        <p:nvSpPr>
          <p:cNvPr id="11" name="Circle 2"/>
          <p:cNvSpPr>
            <a:spLocks noGrp="1"/>
          </p:cNvSpPr>
          <p:nvPr>
            <p:ph type="body" sz="quarter" idx="15" hasCustomPrompt="1"/>
          </p:nvPr>
        </p:nvSpPr>
        <p:spPr>
          <a:xfrm>
            <a:off x="5171896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Place icon here. To hide this text, place cursor then hit space bar. Duplicate or delete as needed.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1519566" y="1828800"/>
            <a:ext cx="1865376" cy="1866900"/>
          </a:xfrm>
          <a:prstGeom prst="ellipse">
            <a:avLst/>
          </a:prstGeom>
          <a:ln w="19050">
            <a:solidFill>
              <a:srgbClr val="FFD030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18282"/>
            <a:ext cx="11338560" cy="492125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/>
              <a:t>Three Icons Layout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5E607CF-7910-12BC-6C4E-638DE184539B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784513" y="4401689"/>
            <a:ext cx="3335482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EAB7BC15-283C-76D1-D94B-9B00A084DD44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4436843" y="4401689"/>
            <a:ext cx="3335482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8C38E2C0-FE94-07B5-BE55-E2EE5CF2D038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75761" y="4401689"/>
            <a:ext cx="3335482" cy="1548944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91094795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 u="sng">
                <a:solidFill>
                  <a:srgbClr val="00070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00070E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FE4E1-3388-5ACB-7650-0E26E3468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VERTICAL LIS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E94348-AFAD-F88C-9054-6A6165BBAF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4EED3D-B130-481A-8ECD-A0040EAC36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B0F2177-8333-9201-87A4-C9215311BD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03860" y="1486173"/>
            <a:ext cx="2738482" cy="661987"/>
          </a:xfrm>
        </p:spPr>
        <p:txBody>
          <a:bodyPr anchor="ctr"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5FEAF28F-78B4-B6EF-BD99-8412684CD6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03860" y="2395222"/>
            <a:ext cx="2738482" cy="661987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80B912B-E60C-F762-28E1-AE422AAEDB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03860" y="3327402"/>
            <a:ext cx="2738482" cy="661987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E2A2DBD-3835-67C1-E774-A198D35AB9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03860" y="4252887"/>
            <a:ext cx="2738482" cy="661987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3CA19730-6879-0947-905D-D3BB8565C2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03860" y="5178372"/>
            <a:ext cx="2738482" cy="661987"/>
          </a:xfrm>
        </p:spPr>
        <p:txBody>
          <a:bodyPr anchor="ctr"/>
          <a:lstStyle>
            <a:lvl1pPr>
              <a:defRPr sz="1600" b="1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D7372EE8-9B02-A6A1-4A34-8CB0D60E77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51777" y="1486173"/>
            <a:ext cx="6983152" cy="661987"/>
          </a:xfrm>
        </p:spPr>
        <p:txBody>
          <a:bodyPr anchor="ctr"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7D520B24-367F-0DDE-83F4-4DC71E9474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51777" y="2395222"/>
            <a:ext cx="6983152" cy="661987"/>
          </a:xfrm>
        </p:spPr>
        <p:txBody>
          <a:bodyPr anchor="ctr"/>
          <a:lstStyle>
            <a:lvl1pPr>
              <a:defRPr sz="1400" b="1"/>
            </a:lvl1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0ACA517B-F372-66FF-9DE0-25278FFD7E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1777" y="3327402"/>
            <a:ext cx="6983152" cy="661987"/>
          </a:xfrm>
        </p:spPr>
        <p:txBody>
          <a:bodyPr anchor="ctr"/>
          <a:lstStyle>
            <a:lvl1pPr>
              <a:defRPr sz="1400" b="1"/>
            </a:lvl1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3FBA1BBF-F7E2-3DBD-5A44-B259A8540E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51776" y="4252887"/>
            <a:ext cx="6983151" cy="661987"/>
          </a:xfrm>
        </p:spPr>
        <p:txBody>
          <a:bodyPr anchor="ctr"/>
          <a:lstStyle>
            <a:lvl1pPr>
              <a:defRPr sz="1400" b="1"/>
            </a:lvl1pPr>
          </a:lstStyle>
          <a:p>
            <a:pPr lvl="0"/>
            <a:r>
              <a:rPr lang="en-US"/>
              <a:t>Item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45F4AA2E-E3D4-41D3-15C5-8625537798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1777" y="5178372"/>
            <a:ext cx="6983150" cy="661987"/>
          </a:xfrm>
        </p:spPr>
        <p:txBody>
          <a:bodyPr anchor="ctr"/>
          <a:lstStyle>
            <a:lvl1pPr>
              <a:defRPr sz="1400" b="1"/>
            </a:lvl1pPr>
          </a:lstStyle>
          <a:p>
            <a:pPr lvl="0"/>
            <a:r>
              <a:rPr lang="en-US"/>
              <a:t>Item</a:t>
            </a:r>
          </a:p>
        </p:txBody>
      </p:sp>
    </p:spTree>
    <p:extLst>
      <p:ext uri="{BB962C8B-B14F-4D97-AF65-F5344CB8AC3E}">
        <p14:creationId xmlns:p14="http://schemas.microsoft.com/office/powerpoint/2010/main" val="2878030419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 List 2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412" y="3159730"/>
            <a:ext cx="5003222" cy="453802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42230" y="3156332"/>
            <a:ext cx="5003221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/>
              <a:t>Horizontal List (2 Items)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9" name="Google Shape;92;p16">
            <a:extLst>
              <a:ext uri="{FF2B5EF4-FFF2-40B4-BE49-F238E27FC236}">
                <a16:creationId xmlns:a16="http://schemas.microsoft.com/office/drawing/2014/main" id="{DBFC533B-843A-7CAF-D3DE-EBF4117677F4}"/>
              </a:ext>
            </a:extLst>
          </p:cNvPr>
          <p:cNvCxnSpPr>
            <a:cxnSpLocks/>
          </p:cNvCxnSpPr>
          <p:nvPr userDrawn="1"/>
        </p:nvCxnSpPr>
        <p:spPr>
          <a:xfrm>
            <a:off x="718412" y="3027807"/>
            <a:ext cx="10726585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1EEDCC69-40C2-C8C9-991A-8C97D34FC81A}"/>
              </a:ext>
            </a:extLst>
          </p:cNvPr>
          <p:cNvSpPr/>
          <p:nvPr userDrawn="1"/>
        </p:nvSpPr>
        <p:spPr>
          <a:xfrm>
            <a:off x="2759933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FC7FFEC-8646-5052-B846-495DF693B6A2}"/>
              </a:ext>
            </a:extLst>
          </p:cNvPr>
          <p:cNvSpPr/>
          <p:nvPr userDrawn="1"/>
        </p:nvSpPr>
        <p:spPr>
          <a:xfrm>
            <a:off x="8483750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1C421DA-83C6-D8D5-B207-18A776C66B5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18412" y="3734719"/>
            <a:ext cx="5003222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489DF4A1-BEBF-FE62-A36F-81892765A29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442231" y="3734719"/>
            <a:ext cx="5003220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979154"/>
      </p:ext>
    </p:extLst>
  </p:cSld>
  <p:clrMapOvr>
    <a:masterClrMapping/>
  </p:clrMapOvr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 List 3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412" y="3159730"/>
            <a:ext cx="3335482" cy="453802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70741" y="3156332"/>
            <a:ext cx="3335482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09659" y="3156332"/>
            <a:ext cx="3335482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/>
              <a:t>Horizontal List (3 Items)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9" name="Google Shape;92;p16">
            <a:extLst>
              <a:ext uri="{FF2B5EF4-FFF2-40B4-BE49-F238E27FC236}">
                <a16:creationId xmlns:a16="http://schemas.microsoft.com/office/drawing/2014/main" id="{DBFC533B-843A-7CAF-D3DE-EBF4117677F4}"/>
              </a:ext>
            </a:extLst>
          </p:cNvPr>
          <p:cNvCxnSpPr>
            <a:cxnSpLocks/>
          </p:cNvCxnSpPr>
          <p:nvPr userDrawn="1"/>
        </p:nvCxnSpPr>
        <p:spPr>
          <a:xfrm>
            <a:off x="718412" y="3027807"/>
            <a:ext cx="10726585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1EEDCC69-40C2-C8C9-991A-8C97D34FC81A}"/>
              </a:ext>
            </a:extLst>
          </p:cNvPr>
          <p:cNvSpPr/>
          <p:nvPr userDrawn="1"/>
        </p:nvSpPr>
        <p:spPr>
          <a:xfrm>
            <a:off x="2054374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EFA4037-F977-5F3A-0E18-E092F3CD4D93}"/>
              </a:ext>
            </a:extLst>
          </p:cNvPr>
          <p:cNvSpPr/>
          <p:nvPr userDrawn="1"/>
        </p:nvSpPr>
        <p:spPr>
          <a:xfrm>
            <a:off x="5693060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FC7FFEC-8646-5052-B846-495DF693B6A2}"/>
              </a:ext>
            </a:extLst>
          </p:cNvPr>
          <p:cNvSpPr/>
          <p:nvPr userDrawn="1"/>
        </p:nvSpPr>
        <p:spPr>
          <a:xfrm>
            <a:off x="9453118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1C421DA-83C6-D8D5-B207-18A776C66B5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18413" y="3734719"/>
            <a:ext cx="3335338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489DF4A1-BEBF-FE62-A36F-81892765A29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370741" y="3734719"/>
            <a:ext cx="3335338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70C9476F-0071-0EAB-6EB8-AAE634483DB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8109659" y="3734719"/>
            <a:ext cx="3335338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0587559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 List 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8412" y="3159730"/>
            <a:ext cx="2446819" cy="453802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69128" y="3156332"/>
            <a:ext cx="2446820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2328" y="3156332"/>
            <a:ext cx="2446821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 cap="all" baseline="0"/>
            </a:lvl1pPr>
          </a:lstStyle>
          <a:p>
            <a:r>
              <a:rPr lang="en-US"/>
              <a:t>Horizontal List (4 Items)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9" name="Google Shape;92;p16">
            <a:extLst>
              <a:ext uri="{FF2B5EF4-FFF2-40B4-BE49-F238E27FC236}">
                <a16:creationId xmlns:a16="http://schemas.microsoft.com/office/drawing/2014/main" id="{DBFC533B-843A-7CAF-D3DE-EBF4117677F4}"/>
              </a:ext>
            </a:extLst>
          </p:cNvPr>
          <p:cNvCxnSpPr>
            <a:cxnSpLocks/>
          </p:cNvCxnSpPr>
          <p:nvPr userDrawn="1"/>
        </p:nvCxnSpPr>
        <p:spPr>
          <a:xfrm>
            <a:off x="718412" y="3027807"/>
            <a:ext cx="10726585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1EEDCC69-40C2-C8C9-991A-8C97D34FC81A}"/>
              </a:ext>
            </a:extLst>
          </p:cNvPr>
          <p:cNvSpPr/>
          <p:nvPr userDrawn="1"/>
        </p:nvSpPr>
        <p:spPr>
          <a:xfrm>
            <a:off x="1481731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EFA4037-F977-5F3A-0E18-E092F3CD4D93}"/>
              </a:ext>
            </a:extLst>
          </p:cNvPr>
          <p:cNvSpPr/>
          <p:nvPr userDrawn="1"/>
        </p:nvSpPr>
        <p:spPr>
          <a:xfrm>
            <a:off x="7016889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FC7FFEC-8646-5052-B846-495DF693B6A2}"/>
              </a:ext>
            </a:extLst>
          </p:cNvPr>
          <p:cNvSpPr/>
          <p:nvPr userDrawn="1"/>
        </p:nvSpPr>
        <p:spPr>
          <a:xfrm>
            <a:off x="9790089" y="166027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1C421DA-83C6-D8D5-B207-18A776C66B5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18414" y="3734719"/>
            <a:ext cx="2446817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489DF4A1-BEBF-FE62-A36F-81892765A29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469128" y="3734719"/>
            <a:ext cx="2469303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70C9476F-0071-0EAB-6EB8-AAE634483DB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242328" y="3734719"/>
            <a:ext cx="2469303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Orange title 3">
            <a:extLst>
              <a:ext uri="{FF2B5EF4-FFF2-40B4-BE49-F238E27FC236}">
                <a16:creationId xmlns:a16="http://schemas.microsoft.com/office/drawing/2014/main" id="{F8F37FF3-3142-3683-BB46-FD4068D77F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15528" y="3156332"/>
            <a:ext cx="2446821" cy="457200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AE1CACD6-0E21-B34E-6BED-535136B02DF3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9015528" y="3734719"/>
            <a:ext cx="2469303" cy="22143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C57F8269-FA02-C7B4-0924-0D0D2C751922}"/>
              </a:ext>
            </a:extLst>
          </p:cNvPr>
          <p:cNvSpPr/>
          <p:nvPr userDrawn="1"/>
        </p:nvSpPr>
        <p:spPr>
          <a:xfrm>
            <a:off x="4232448" y="1631805"/>
            <a:ext cx="920180" cy="838254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795688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-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901FF2-876E-A64A-BEBE-DD905BF64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0"/>
            <a:ext cx="11341100" cy="10789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88C2EF-BB40-0E43-9E11-05E69EBD5A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9900" y="1371600"/>
            <a:ext cx="5181600" cy="45011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0EFADB-B118-EB46-B2E3-A04C0D9437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629400" y="1371600"/>
            <a:ext cx="5181600" cy="45011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A67E33-C5D4-A74F-BE26-69259B9FAB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848755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9F3237-B786-E348-B12F-E7662E441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0"/>
            <a:ext cx="11366500" cy="10789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E8E7AB-B0E5-8C4C-B294-FCDD664E16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500" y="1371600"/>
            <a:ext cx="5157787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1CF415-74C4-3B4A-BFDE-E7964F3250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4500" y="2139950"/>
            <a:ext cx="5157787" cy="37494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D49E14-8CB5-7444-9E17-0C227DA145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627812" y="1371600"/>
            <a:ext cx="5183188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34CAFEC-4B44-3E4E-BE0D-9B1CCE3054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627812" y="2139950"/>
            <a:ext cx="5183188" cy="37494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B2466CC-D79C-3648-8415-724F98B62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72445163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New Layouts for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9F3237-B786-E348-B12F-E7662E441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0"/>
            <a:ext cx="11366500" cy="10789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E8E7AB-B0E5-8C4C-B294-FCDD664E16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500" y="1371600"/>
            <a:ext cx="5157787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1CF415-74C4-3B4A-BFDE-E7964F3250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4500" y="2139950"/>
            <a:ext cx="5157787" cy="37494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D49E14-8CB5-7444-9E17-0C227DA145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627812" y="1371600"/>
            <a:ext cx="5183188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34CAFEC-4B44-3E4E-BE0D-9B1CCE3054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627812" y="2139950"/>
            <a:ext cx="5183188" cy="37494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B2466CC-D79C-3648-8415-724F98B62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071852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0B148188-2D15-156F-91A3-4D9BD49D1864}"/>
              </a:ext>
            </a:extLst>
          </p:cNvPr>
          <p:cNvSpPr txBox="1"/>
          <p:nvPr userDrawn="1"/>
        </p:nvSpPr>
        <p:spPr>
          <a:xfrm>
            <a:off x="0" y="0"/>
            <a:ext cx="12192000" cy="6867764"/>
          </a:xfrm>
          <a:prstGeom prst="rect">
            <a:avLst/>
          </a:prstGeom>
          <a:solidFill>
            <a:schemeClr val="tx1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sz="2800">
                <a:solidFill>
                  <a:schemeClr val="bg1"/>
                </a:solidFill>
              </a:rPr>
              <a:t>       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F211126D-180D-D885-FD61-C2EDF3C61E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E8E7AB-B0E5-8C4C-B294-FCDD664E16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500" y="1371600"/>
            <a:ext cx="5157787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1CF415-74C4-3B4A-BFDE-E7964F3250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4500" y="2139950"/>
            <a:ext cx="5157787" cy="37494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B2466CC-D79C-3648-8415-724F98B62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7662977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Right Image with Half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0B148188-2D15-156F-91A3-4D9BD49D1864}"/>
              </a:ext>
            </a:extLst>
          </p:cNvPr>
          <p:cNvSpPr txBox="1"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sz="2800">
                <a:solidFill>
                  <a:schemeClr val="bg1"/>
                </a:solidFill>
              </a:rPr>
              <a:t>      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E8E7AB-B0E5-8C4C-B294-FCDD664E16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500" y="1371600"/>
            <a:ext cx="5157787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1CF415-74C4-3B4A-BFDE-E7964F3250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4500" y="2139950"/>
            <a:ext cx="5157787" cy="37494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B2466CC-D79C-3648-8415-724F98B62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85A2840-48A6-C517-374F-B9B4087004EE}"/>
              </a:ext>
            </a:extLst>
          </p:cNvPr>
          <p:cNvSpPr/>
          <p:nvPr userDrawn="1"/>
        </p:nvSpPr>
        <p:spPr>
          <a:xfrm>
            <a:off x="9067800" y="0"/>
            <a:ext cx="3124200" cy="6858000"/>
          </a:xfrm>
          <a:prstGeom prst="rect">
            <a:avLst/>
          </a:prstGeom>
          <a:solidFill>
            <a:srgbClr val="FFCF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F211126D-180D-D885-FD61-C2EDF3C61E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79464" y="457200"/>
            <a:ext cx="5184648" cy="5943600"/>
          </a:xfrm>
        </p:spPr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9230862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Right Image - I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0B148188-2D15-156F-91A3-4D9BD49D1864}"/>
              </a:ext>
            </a:extLst>
          </p:cNvPr>
          <p:cNvSpPr txBox="1"/>
          <p:nvPr userDrawn="1"/>
        </p:nvSpPr>
        <p:spPr>
          <a:xfrm>
            <a:off x="0" y="0"/>
            <a:ext cx="12192000" cy="6867764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sz="2800">
                <a:solidFill>
                  <a:schemeClr val="tx1"/>
                </a:solidFill>
              </a:rPr>
              <a:t>       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F211126D-180D-D885-FD61-C2EDF3C61E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E8E7AB-B0E5-8C4C-B294-FCDD664E16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4500" y="1371600"/>
            <a:ext cx="5157787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1CF415-74C4-3B4A-BFDE-E7964F3250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4500" y="2139950"/>
            <a:ext cx="5157787" cy="374940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B2466CC-D79C-3648-8415-724F98B62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57C3A33-8797-B644-A994-F09AF5F50374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5320259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 u="sng">
                <a:solidFill>
                  <a:srgbClr val="00070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1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00070E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1D1AF863-F18E-F0BC-6C23-AEB2A62C4F83}"/>
              </a:ext>
            </a:extLst>
          </p:cNvPr>
          <p:cNvSpPr txBox="1"/>
          <p:nvPr userDrawn="1"/>
        </p:nvSpPr>
        <p:spPr>
          <a:xfrm>
            <a:off x="0" y="0"/>
            <a:ext cx="12192000" cy="6867764"/>
          </a:xfrm>
          <a:prstGeom prst="rect">
            <a:avLst/>
          </a:prstGeom>
          <a:solidFill>
            <a:schemeClr val="tx1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sz="2800">
                <a:solidFill>
                  <a:schemeClr val="bg1"/>
                </a:solidFill>
              </a:rPr>
              <a:t>      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D49E14-8CB5-7444-9E17-0C227DA145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627812" y="1371600"/>
            <a:ext cx="5183188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34CAFEC-4B44-3E4E-BE0D-9B1CCE3054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627812" y="2139950"/>
            <a:ext cx="5183188" cy="37494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B2466CC-D79C-3648-8415-724F98B62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EEAD377-E8CB-B2EC-BB22-003B65E3E78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177563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Left Image with Half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1D1AF863-F18E-F0BC-6C23-AEB2A62C4F83}"/>
              </a:ext>
            </a:extLst>
          </p:cNvPr>
          <p:cNvSpPr txBox="1"/>
          <p:nvPr userDrawn="1"/>
        </p:nvSpPr>
        <p:spPr>
          <a:xfrm>
            <a:off x="0" y="0"/>
            <a:ext cx="12192000" cy="6867764"/>
          </a:xfrm>
          <a:prstGeom prst="rect">
            <a:avLst/>
          </a:prstGeom>
          <a:solidFill>
            <a:schemeClr val="tx1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sz="2800">
                <a:solidFill>
                  <a:schemeClr val="bg1"/>
                </a:solidFill>
              </a:rPr>
              <a:t>      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D49E14-8CB5-7444-9E17-0C227DA145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627812" y="1371600"/>
            <a:ext cx="5183188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34CAFEC-4B44-3E4E-BE0D-9B1CCE3054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627812" y="2139950"/>
            <a:ext cx="5183188" cy="37494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B2466CC-D79C-3648-8415-724F98B62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/>
          <a:p>
            <a:fld id="{157C3A33-8797-B644-A994-F09AF5F50374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EEAD377-E8CB-B2EC-BB22-003B65E3E78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8056" y="457200"/>
            <a:ext cx="5184648" cy="59436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DD56321-D8A6-4BBC-A1F7-E4F7A261BF36}"/>
              </a:ext>
            </a:extLst>
          </p:cNvPr>
          <p:cNvSpPr/>
          <p:nvPr userDrawn="1"/>
        </p:nvSpPr>
        <p:spPr>
          <a:xfrm>
            <a:off x="0" y="0"/>
            <a:ext cx="3124200" cy="6858000"/>
          </a:xfrm>
          <a:prstGeom prst="rect">
            <a:avLst/>
          </a:prstGeom>
          <a:solidFill>
            <a:srgbClr val="FFCF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2903784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Left Image - I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1D1AF863-F18E-F0BC-6C23-AEB2A62C4F83}"/>
              </a:ext>
            </a:extLst>
          </p:cNvPr>
          <p:cNvSpPr txBox="1"/>
          <p:nvPr userDrawn="1"/>
        </p:nvSpPr>
        <p:spPr>
          <a:xfrm>
            <a:off x="0" y="0"/>
            <a:ext cx="12192000" cy="6867764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sz="2800">
                <a:solidFill>
                  <a:schemeClr val="tx1"/>
                </a:solidFill>
              </a:rPr>
              <a:t>      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D49E14-8CB5-7444-9E17-0C227DA145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627812" y="1371600"/>
            <a:ext cx="5183188" cy="6858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34CAFEC-4B44-3E4E-BE0D-9B1CCE3054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627812" y="2139950"/>
            <a:ext cx="5183188" cy="374940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B2466CC-D79C-3648-8415-724F98B62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57C3A33-8797-B644-A994-F09AF5F5037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EEAD377-E8CB-B2EC-BB22-003B65E3E78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08331616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3F11C0-6649-02E4-C40B-47487FB0AF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5540E7-9486-578A-551E-366C8056E7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104391" y="704008"/>
            <a:ext cx="8011450" cy="497933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65FD98F-748F-DB45-A42B-08A1C540C53F}"/>
              </a:ext>
            </a:extLst>
          </p:cNvPr>
          <p:cNvSpPr txBox="1"/>
          <p:nvPr userDrawn="1"/>
        </p:nvSpPr>
        <p:spPr>
          <a:xfrm>
            <a:off x="6447896" y="4719015"/>
            <a:ext cx="300537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500" spc="0">
                <a:solidFill>
                  <a:schemeClr val="tx1"/>
                </a:solidFill>
              </a:rPr>
              <a:t>metroplus.org</a:t>
            </a:r>
          </a:p>
        </p:txBody>
      </p:sp>
    </p:spTree>
    <p:extLst>
      <p:ext uri="{BB962C8B-B14F-4D97-AF65-F5344CB8AC3E}">
        <p14:creationId xmlns:p14="http://schemas.microsoft.com/office/powerpoint/2010/main" val="2126402604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3F11C0-6649-02E4-C40B-47487FB0AF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5621F6D3-E0CA-FDFC-4F83-63BF23171B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04391" y="704008"/>
            <a:ext cx="8011451" cy="497933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17FB39F-B0C8-3009-B95E-8C7BFB71D5A8}"/>
              </a:ext>
            </a:extLst>
          </p:cNvPr>
          <p:cNvSpPr txBox="1"/>
          <p:nvPr userDrawn="1"/>
        </p:nvSpPr>
        <p:spPr>
          <a:xfrm>
            <a:off x="6447896" y="4719015"/>
            <a:ext cx="300537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500" spc="0">
                <a:solidFill>
                  <a:schemeClr val="bg1"/>
                </a:solidFill>
              </a:rPr>
              <a:t>metroplus.org</a:t>
            </a:r>
          </a:p>
        </p:txBody>
      </p:sp>
    </p:spTree>
    <p:extLst>
      <p:ext uri="{BB962C8B-B14F-4D97-AF65-F5344CB8AC3E}">
        <p14:creationId xmlns:p14="http://schemas.microsoft.com/office/powerpoint/2010/main" val="2868858999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3F11C0-6649-02E4-C40B-47487FB0AF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0DAB22F-8DBB-5C4C-A69C-1A1F1BD292AB}"/>
              </a:ext>
            </a:extLst>
          </p:cNvPr>
          <p:cNvGrpSpPr/>
          <p:nvPr userDrawn="1"/>
        </p:nvGrpSpPr>
        <p:grpSpPr>
          <a:xfrm>
            <a:off x="4207698" y="3959817"/>
            <a:ext cx="3682659" cy="2288875"/>
            <a:chOff x="2104391" y="704008"/>
            <a:chExt cx="8011450" cy="497933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5E57ED8-C565-3CEF-DAD0-0BA476EB1B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rcRect/>
            <a:stretch/>
          </p:blipFill>
          <p:spPr>
            <a:xfrm>
              <a:off x="2104391" y="704008"/>
              <a:ext cx="8011450" cy="4979339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0A4DF51-1F77-36D6-C2F2-0270480C6F27}"/>
                </a:ext>
              </a:extLst>
            </p:cNvPr>
            <p:cNvSpPr txBox="1"/>
            <p:nvPr userDrawn="1"/>
          </p:nvSpPr>
          <p:spPr>
            <a:xfrm>
              <a:off x="5424020" y="4719016"/>
              <a:ext cx="4029247" cy="8131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spc="0">
                  <a:solidFill>
                    <a:schemeClr val="tx1"/>
                  </a:solidFill>
                </a:rPr>
                <a:t>metroplus.or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62495162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D3F11C0-6649-02E4-C40B-47487FB0AF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5621F6D3-E0CA-FDFC-4F83-63BF23171B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157116" y="3973690"/>
            <a:ext cx="3877768" cy="24101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6BBF349-216D-31F9-0C8C-1B528F1FC35C}"/>
              </a:ext>
            </a:extLst>
          </p:cNvPr>
          <p:cNvSpPr txBox="1"/>
          <p:nvPr userDrawn="1"/>
        </p:nvSpPr>
        <p:spPr>
          <a:xfrm>
            <a:off x="6025198" y="5901638"/>
            <a:ext cx="16775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spc="0">
                <a:solidFill>
                  <a:schemeClr val="bg1"/>
                </a:solidFill>
              </a:rPr>
              <a:t>metroplus.or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106519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2" name="Google Shape;322;p7"/>
          <p:cNvGrpSpPr/>
          <p:nvPr/>
        </p:nvGrpSpPr>
        <p:grpSpPr>
          <a:xfrm>
            <a:off x="-275" y="1"/>
            <a:ext cx="12210876" cy="6866447"/>
            <a:chOff x="-207" y="0"/>
            <a:chExt cx="9158157" cy="5149835"/>
          </a:xfrm>
        </p:grpSpPr>
        <p:sp>
          <p:nvSpPr>
            <p:cNvPr id="323" name="Google Shape;323;p7"/>
            <p:cNvSpPr/>
            <p:nvPr/>
          </p:nvSpPr>
          <p:spPr>
            <a:xfrm>
              <a:off x="8504250" y="4489800"/>
              <a:ext cx="653700" cy="653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324" name="Google Shape;324;p7"/>
            <p:cNvSpPr/>
            <p:nvPr/>
          </p:nvSpPr>
          <p:spPr>
            <a:xfrm>
              <a:off x="0" y="0"/>
              <a:ext cx="653700" cy="51435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325" name="Google Shape;325;p7"/>
            <p:cNvSpPr/>
            <p:nvPr/>
          </p:nvSpPr>
          <p:spPr>
            <a:xfrm>
              <a:off x="322375" y="664300"/>
              <a:ext cx="8181900" cy="653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endParaRPr sz="2400"/>
            </a:p>
          </p:txBody>
        </p:sp>
        <p:grpSp>
          <p:nvGrpSpPr>
            <p:cNvPr id="326" name="Google Shape;326;p7"/>
            <p:cNvGrpSpPr/>
            <p:nvPr/>
          </p:nvGrpSpPr>
          <p:grpSpPr>
            <a:xfrm>
              <a:off x="-207" y="664293"/>
              <a:ext cx="155867" cy="653721"/>
              <a:chOff x="5385375" y="498300"/>
              <a:chExt cx="802200" cy="556500"/>
            </a:xfrm>
          </p:grpSpPr>
          <p:sp>
            <p:nvSpPr>
              <p:cNvPr id="327" name="Google Shape;327;p7"/>
              <p:cNvSpPr/>
              <p:nvPr/>
            </p:nvSpPr>
            <p:spPr>
              <a:xfrm>
                <a:off x="5385375" y="498300"/>
                <a:ext cx="802200" cy="9930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28" name="Google Shape;328;p7"/>
              <p:cNvSpPr/>
              <p:nvPr/>
            </p:nvSpPr>
            <p:spPr>
              <a:xfrm>
                <a:off x="5385375" y="726900"/>
                <a:ext cx="802200" cy="9930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29" name="Google Shape;329;p7"/>
              <p:cNvSpPr/>
              <p:nvPr/>
            </p:nvSpPr>
            <p:spPr>
              <a:xfrm>
                <a:off x="5385375" y="955500"/>
                <a:ext cx="802200" cy="9930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</p:grpSp>
        <p:grpSp>
          <p:nvGrpSpPr>
            <p:cNvPr id="330" name="Google Shape;330;p7"/>
            <p:cNvGrpSpPr/>
            <p:nvPr/>
          </p:nvGrpSpPr>
          <p:grpSpPr>
            <a:xfrm>
              <a:off x="322384" y="4483463"/>
              <a:ext cx="666347" cy="666373"/>
              <a:chOff x="7134700" y="414375"/>
              <a:chExt cx="501919" cy="501900"/>
            </a:xfrm>
          </p:grpSpPr>
          <p:sp>
            <p:nvSpPr>
              <p:cNvPr id="331" name="Google Shape;331;p7"/>
              <p:cNvSpPr/>
              <p:nvPr/>
            </p:nvSpPr>
            <p:spPr>
              <a:xfrm>
                <a:off x="7134700" y="4143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32" name="Google Shape;332;p7"/>
              <p:cNvSpPr/>
              <p:nvPr/>
            </p:nvSpPr>
            <p:spPr>
              <a:xfrm>
                <a:off x="7287100" y="4143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33" name="Google Shape;333;p7"/>
              <p:cNvSpPr/>
              <p:nvPr/>
            </p:nvSpPr>
            <p:spPr>
              <a:xfrm>
                <a:off x="7439500" y="4143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34" name="Google Shape;334;p7"/>
              <p:cNvSpPr/>
              <p:nvPr/>
            </p:nvSpPr>
            <p:spPr>
              <a:xfrm>
                <a:off x="7134700" y="5667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35" name="Google Shape;335;p7"/>
              <p:cNvSpPr/>
              <p:nvPr/>
            </p:nvSpPr>
            <p:spPr>
              <a:xfrm>
                <a:off x="7287100" y="5667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36" name="Google Shape;336;p7"/>
              <p:cNvSpPr/>
              <p:nvPr/>
            </p:nvSpPr>
            <p:spPr>
              <a:xfrm>
                <a:off x="7439500" y="5667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37" name="Google Shape;337;p7"/>
              <p:cNvSpPr/>
              <p:nvPr/>
            </p:nvSpPr>
            <p:spPr>
              <a:xfrm>
                <a:off x="7134700" y="7191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38" name="Google Shape;338;p7"/>
              <p:cNvSpPr/>
              <p:nvPr/>
            </p:nvSpPr>
            <p:spPr>
              <a:xfrm>
                <a:off x="7287100" y="7191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39" name="Google Shape;339;p7"/>
              <p:cNvSpPr/>
              <p:nvPr/>
            </p:nvSpPr>
            <p:spPr>
              <a:xfrm>
                <a:off x="7439500" y="7191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40" name="Google Shape;340;p7"/>
              <p:cNvSpPr/>
              <p:nvPr/>
            </p:nvSpPr>
            <p:spPr>
              <a:xfrm>
                <a:off x="7134700" y="8715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41" name="Google Shape;341;p7"/>
              <p:cNvSpPr/>
              <p:nvPr/>
            </p:nvSpPr>
            <p:spPr>
              <a:xfrm>
                <a:off x="7287100" y="8715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42" name="Google Shape;342;p7"/>
              <p:cNvSpPr/>
              <p:nvPr/>
            </p:nvSpPr>
            <p:spPr>
              <a:xfrm>
                <a:off x="7439500" y="8715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43" name="Google Shape;343;p7"/>
              <p:cNvSpPr/>
              <p:nvPr/>
            </p:nvSpPr>
            <p:spPr>
              <a:xfrm>
                <a:off x="7591900" y="4143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44" name="Google Shape;344;p7"/>
              <p:cNvSpPr/>
              <p:nvPr/>
            </p:nvSpPr>
            <p:spPr>
              <a:xfrm>
                <a:off x="7591900" y="5667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45" name="Google Shape;345;p7"/>
              <p:cNvSpPr/>
              <p:nvPr/>
            </p:nvSpPr>
            <p:spPr>
              <a:xfrm>
                <a:off x="7591900" y="7191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46" name="Google Shape;346;p7"/>
              <p:cNvSpPr/>
              <p:nvPr/>
            </p:nvSpPr>
            <p:spPr>
              <a:xfrm>
                <a:off x="7591919" y="8715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</p:grpSp>
        <p:grpSp>
          <p:nvGrpSpPr>
            <p:cNvPr id="347" name="Google Shape;347;p7"/>
            <p:cNvGrpSpPr/>
            <p:nvPr/>
          </p:nvGrpSpPr>
          <p:grpSpPr>
            <a:xfrm>
              <a:off x="8832384" y="670955"/>
              <a:ext cx="311815" cy="653721"/>
              <a:chOff x="5385375" y="498300"/>
              <a:chExt cx="802200" cy="556500"/>
            </a:xfrm>
          </p:grpSpPr>
          <p:sp>
            <p:nvSpPr>
              <p:cNvPr id="348" name="Google Shape;348;p7"/>
              <p:cNvSpPr/>
              <p:nvPr/>
            </p:nvSpPr>
            <p:spPr>
              <a:xfrm>
                <a:off x="5385375" y="498300"/>
                <a:ext cx="802200" cy="993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49" name="Google Shape;349;p7"/>
              <p:cNvSpPr/>
              <p:nvPr/>
            </p:nvSpPr>
            <p:spPr>
              <a:xfrm>
                <a:off x="5385375" y="726900"/>
                <a:ext cx="802200" cy="993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50" name="Google Shape;350;p7"/>
              <p:cNvSpPr/>
              <p:nvPr/>
            </p:nvSpPr>
            <p:spPr>
              <a:xfrm>
                <a:off x="5385375" y="955500"/>
                <a:ext cx="802200" cy="993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</p:grpSp>
      </p:grpSp>
      <p:sp>
        <p:nvSpPr>
          <p:cNvPr id="351" name="Google Shape;351;p7"/>
          <p:cNvSpPr txBox="1">
            <a:spLocks noGrp="1"/>
          </p:cNvSpPr>
          <p:nvPr>
            <p:ph type="title"/>
          </p:nvPr>
        </p:nvSpPr>
        <p:spPr>
          <a:xfrm>
            <a:off x="881467" y="885733"/>
            <a:ext cx="10457600" cy="871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9pPr>
          </a:lstStyle>
          <a:p>
            <a:endParaRPr/>
          </a:p>
        </p:txBody>
      </p:sp>
      <p:sp>
        <p:nvSpPr>
          <p:cNvPr id="352" name="Google Shape;352;p7"/>
          <p:cNvSpPr txBox="1">
            <a:spLocks noGrp="1"/>
          </p:cNvSpPr>
          <p:nvPr>
            <p:ph type="body" idx="1"/>
          </p:nvPr>
        </p:nvSpPr>
        <p:spPr>
          <a:xfrm>
            <a:off x="1563533" y="2132933"/>
            <a:ext cx="4596400" cy="385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74121" rtl="0">
              <a:spcBef>
                <a:spcPts val="800"/>
              </a:spcBef>
              <a:spcAft>
                <a:spcPts val="0"/>
              </a:spcAft>
              <a:buSzPts val="2000"/>
              <a:buChar char="▪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19170" lvl="1" indent="-474121" rtl="0">
              <a:spcBef>
                <a:spcPts val="0"/>
              </a:spcBef>
              <a:spcAft>
                <a:spcPts val="0"/>
              </a:spcAft>
              <a:buSzPts val="2000"/>
              <a:buChar char="▫"/>
              <a:defRPr sz="2667"/>
            </a:lvl2pPr>
            <a:lvl3pPr marL="1828754" lvl="2" indent="-474121" rtl="0">
              <a:spcBef>
                <a:spcPts val="0"/>
              </a:spcBef>
              <a:spcAft>
                <a:spcPts val="0"/>
              </a:spcAft>
              <a:buSzPts val="2000"/>
              <a:buChar char="▫"/>
              <a:defRPr sz="2667"/>
            </a:lvl3pPr>
            <a:lvl4pPr marL="2438339" lvl="3" indent="-474121" rtl="0">
              <a:spcBef>
                <a:spcPts val="0"/>
              </a:spcBef>
              <a:spcAft>
                <a:spcPts val="0"/>
              </a:spcAft>
              <a:buSzPts val="2000"/>
              <a:buChar char="▫"/>
              <a:defRPr sz="2667"/>
            </a:lvl4pPr>
            <a:lvl5pPr marL="3047924" lvl="4" indent="-474121" rtl="0">
              <a:spcBef>
                <a:spcPts val="0"/>
              </a:spcBef>
              <a:spcAft>
                <a:spcPts val="0"/>
              </a:spcAft>
              <a:buSzPts val="2000"/>
              <a:buChar char="▫"/>
              <a:defRPr sz="2667"/>
            </a:lvl5pPr>
            <a:lvl6pPr marL="3657509" lvl="5" indent="-474121" rtl="0">
              <a:spcBef>
                <a:spcPts val="0"/>
              </a:spcBef>
              <a:spcAft>
                <a:spcPts val="0"/>
              </a:spcAft>
              <a:buSzPts val="2000"/>
              <a:buChar char="▫"/>
              <a:defRPr sz="2667"/>
            </a:lvl6pPr>
            <a:lvl7pPr marL="4267093" lvl="6" indent="-474121" rtl="0">
              <a:spcBef>
                <a:spcPts val="0"/>
              </a:spcBef>
              <a:spcAft>
                <a:spcPts val="0"/>
              </a:spcAft>
              <a:buSzPts val="2000"/>
              <a:buChar char="▫"/>
              <a:defRPr sz="2667"/>
            </a:lvl7pPr>
            <a:lvl8pPr marL="4876678" lvl="7" indent="-474121" rtl="0">
              <a:spcBef>
                <a:spcPts val="0"/>
              </a:spcBef>
              <a:spcAft>
                <a:spcPts val="0"/>
              </a:spcAft>
              <a:buSzPts val="2000"/>
              <a:buChar char="▫"/>
              <a:defRPr sz="2667"/>
            </a:lvl8pPr>
            <a:lvl9pPr marL="5486263" lvl="8" indent="-474121" rtl="0">
              <a:spcBef>
                <a:spcPts val="0"/>
              </a:spcBef>
              <a:spcAft>
                <a:spcPts val="0"/>
              </a:spcAft>
              <a:buSzPts val="2000"/>
              <a:buChar char="▫"/>
              <a:defRPr sz="2667"/>
            </a:lvl9pPr>
          </a:lstStyle>
          <a:p>
            <a:endParaRPr/>
          </a:p>
        </p:txBody>
      </p:sp>
      <p:sp>
        <p:nvSpPr>
          <p:cNvPr id="353" name="Google Shape;353;p7"/>
          <p:cNvSpPr txBox="1">
            <a:spLocks noGrp="1"/>
          </p:cNvSpPr>
          <p:nvPr>
            <p:ph type="body" idx="2"/>
          </p:nvPr>
        </p:nvSpPr>
        <p:spPr>
          <a:xfrm>
            <a:off x="6742517" y="2132933"/>
            <a:ext cx="4596400" cy="385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74121" rtl="0">
              <a:spcBef>
                <a:spcPts val="800"/>
              </a:spcBef>
              <a:spcAft>
                <a:spcPts val="0"/>
              </a:spcAft>
              <a:buSzPts val="2000"/>
              <a:buChar char="▪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19170" lvl="1" indent="-474121" rtl="0">
              <a:spcBef>
                <a:spcPts val="0"/>
              </a:spcBef>
              <a:spcAft>
                <a:spcPts val="0"/>
              </a:spcAft>
              <a:buSzPts val="2000"/>
              <a:buChar char="▫"/>
              <a:defRPr sz="2667"/>
            </a:lvl2pPr>
            <a:lvl3pPr marL="1828754" lvl="2" indent="-474121" rtl="0">
              <a:spcBef>
                <a:spcPts val="0"/>
              </a:spcBef>
              <a:spcAft>
                <a:spcPts val="0"/>
              </a:spcAft>
              <a:buSzPts val="2000"/>
              <a:buChar char="▫"/>
              <a:defRPr sz="2667"/>
            </a:lvl3pPr>
            <a:lvl4pPr marL="2438339" lvl="3" indent="-474121" rtl="0">
              <a:spcBef>
                <a:spcPts val="0"/>
              </a:spcBef>
              <a:spcAft>
                <a:spcPts val="0"/>
              </a:spcAft>
              <a:buSzPts val="2000"/>
              <a:buChar char="▫"/>
              <a:defRPr sz="2667"/>
            </a:lvl4pPr>
            <a:lvl5pPr marL="3047924" lvl="4" indent="-474121" rtl="0">
              <a:spcBef>
                <a:spcPts val="0"/>
              </a:spcBef>
              <a:spcAft>
                <a:spcPts val="0"/>
              </a:spcAft>
              <a:buSzPts val="2000"/>
              <a:buChar char="▫"/>
              <a:defRPr sz="2667"/>
            </a:lvl5pPr>
            <a:lvl6pPr marL="3657509" lvl="5" indent="-474121" rtl="0">
              <a:spcBef>
                <a:spcPts val="0"/>
              </a:spcBef>
              <a:spcAft>
                <a:spcPts val="0"/>
              </a:spcAft>
              <a:buSzPts val="2000"/>
              <a:buChar char="▫"/>
              <a:defRPr sz="2667"/>
            </a:lvl6pPr>
            <a:lvl7pPr marL="4267093" lvl="6" indent="-474121" rtl="0">
              <a:spcBef>
                <a:spcPts val="0"/>
              </a:spcBef>
              <a:spcAft>
                <a:spcPts val="0"/>
              </a:spcAft>
              <a:buSzPts val="2000"/>
              <a:buChar char="▫"/>
              <a:defRPr sz="2667"/>
            </a:lvl7pPr>
            <a:lvl8pPr marL="4876678" lvl="7" indent="-474121" rtl="0">
              <a:spcBef>
                <a:spcPts val="0"/>
              </a:spcBef>
              <a:spcAft>
                <a:spcPts val="0"/>
              </a:spcAft>
              <a:buSzPts val="2000"/>
              <a:buChar char="▫"/>
              <a:defRPr sz="2667"/>
            </a:lvl8pPr>
            <a:lvl9pPr marL="5486263" lvl="8" indent="-474121" rtl="0">
              <a:spcBef>
                <a:spcPts val="0"/>
              </a:spcBef>
              <a:spcAft>
                <a:spcPts val="0"/>
              </a:spcAft>
              <a:buSzPts val="2000"/>
              <a:buChar char="▫"/>
              <a:defRPr sz="2667"/>
            </a:lvl9pPr>
          </a:lstStyle>
          <a:p>
            <a:endParaRPr/>
          </a:p>
        </p:txBody>
      </p:sp>
      <p:sp>
        <p:nvSpPr>
          <p:cNvPr id="354" name="Google Shape;354;p7"/>
          <p:cNvSpPr txBox="1">
            <a:spLocks noGrp="1"/>
          </p:cNvSpPr>
          <p:nvPr>
            <p:ph type="sldNum" idx="12"/>
          </p:nvPr>
        </p:nvSpPr>
        <p:spPr>
          <a:xfrm>
            <a:off x="11339005" y="5986400"/>
            <a:ext cx="871600" cy="871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2531C8F-3CB2-4EFC-A801-D6F2346CD72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>
              <a:solidFill>
                <a:srgbClr val="272A36">
                  <a:tint val="75000"/>
                </a:srgb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9917384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7" name="Google Shape;257;p5"/>
          <p:cNvGrpSpPr/>
          <p:nvPr/>
        </p:nvGrpSpPr>
        <p:grpSpPr>
          <a:xfrm>
            <a:off x="-275" y="1"/>
            <a:ext cx="12210876" cy="6866447"/>
            <a:chOff x="-207" y="0"/>
            <a:chExt cx="9158157" cy="5149835"/>
          </a:xfrm>
        </p:grpSpPr>
        <p:sp>
          <p:nvSpPr>
            <p:cNvPr id="258" name="Google Shape;258;p5"/>
            <p:cNvSpPr/>
            <p:nvPr/>
          </p:nvSpPr>
          <p:spPr>
            <a:xfrm>
              <a:off x="8504250" y="4489800"/>
              <a:ext cx="653700" cy="653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59" name="Google Shape;259;p5"/>
            <p:cNvSpPr/>
            <p:nvPr/>
          </p:nvSpPr>
          <p:spPr>
            <a:xfrm>
              <a:off x="0" y="0"/>
              <a:ext cx="653700" cy="51435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60" name="Google Shape;260;p5"/>
            <p:cNvSpPr/>
            <p:nvPr/>
          </p:nvSpPr>
          <p:spPr>
            <a:xfrm>
              <a:off x="322375" y="664300"/>
              <a:ext cx="8181900" cy="653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endParaRPr sz="2400"/>
            </a:p>
          </p:txBody>
        </p:sp>
        <p:grpSp>
          <p:nvGrpSpPr>
            <p:cNvPr id="261" name="Google Shape;261;p5"/>
            <p:cNvGrpSpPr/>
            <p:nvPr/>
          </p:nvGrpSpPr>
          <p:grpSpPr>
            <a:xfrm>
              <a:off x="-207" y="664293"/>
              <a:ext cx="155867" cy="653721"/>
              <a:chOff x="5385375" y="498300"/>
              <a:chExt cx="802200" cy="556500"/>
            </a:xfrm>
          </p:grpSpPr>
          <p:sp>
            <p:nvSpPr>
              <p:cNvPr id="262" name="Google Shape;262;p5"/>
              <p:cNvSpPr/>
              <p:nvPr/>
            </p:nvSpPr>
            <p:spPr>
              <a:xfrm>
                <a:off x="5385375" y="498300"/>
                <a:ext cx="802200" cy="9930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63" name="Google Shape;263;p5"/>
              <p:cNvSpPr/>
              <p:nvPr/>
            </p:nvSpPr>
            <p:spPr>
              <a:xfrm>
                <a:off x="5385375" y="726900"/>
                <a:ext cx="802200" cy="9930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64" name="Google Shape;264;p5"/>
              <p:cNvSpPr/>
              <p:nvPr/>
            </p:nvSpPr>
            <p:spPr>
              <a:xfrm>
                <a:off x="5385375" y="955500"/>
                <a:ext cx="802200" cy="9930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</p:grpSp>
        <p:grpSp>
          <p:nvGrpSpPr>
            <p:cNvPr id="265" name="Google Shape;265;p5"/>
            <p:cNvGrpSpPr/>
            <p:nvPr/>
          </p:nvGrpSpPr>
          <p:grpSpPr>
            <a:xfrm>
              <a:off x="322384" y="4483463"/>
              <a:ext cx="666347" cy="666373"/>
              <a:chOff x="7134700" y="414375"/>
              <a:chExt cx="501919" cy="501900"/>
            </a:xfrm>
          </p:grpSpPr>
          <p:sp>
            <p:nvSpPr>
              <p:cNvPr id="266" name="Google Shape;266;p5"/>
              <p:cNvSpPr/>
              <p:nvPr/>
            </p:nvSpPr>
            <p:spPr>
              <a:xfrm>
                <a:off x="7134700" y="4143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67" name="Google Shape;267;p5"/>
              <p:cNvSpPr/>
              <p:nvPr/>
            </p:nvSpPr>
            <p:spPr>
              <a:xfrm>
                <a:off x="7287100" y="4143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68" name="Google Shape;268;p5"/>
              <p:cNvSpPr/>
              <p:nvPr/>
            </p:nvSpPr>
            <p:spPr>
              <a:xfrm>
                <a:off x="7439500" y="4143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69" name="Google Shape;269;p5"/>
              <p:cNvSpPr/>
              <p:nvPr/>
            </p:nvSpPr>
            <p:spPr>
              <a:xfrm>
                <a:off x="7134700" y="5667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70" name="Google Shape;270;p5"/>
              <p:cNvSpPr/>
              <p:nvPr/>
            </p:nvSpPr>
            <p:spPr>
              <a:xfrm>
                <a:off x="7287100" y="5667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71" name="Google Shape;271;p5"/>
              <p:cNvSpPr/>
              <p:nvPr/>
            </p:nvSpPr>
            <p:spPr>
              <a:xfrm>
                <a:off x="7439500" y="5667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72" name="Google Shape;272;p5"/>
              <p:cNvSpPr/>
              <p:nvPr/>
            </p:nvSpPr>
            <p:spPr>
              <a:xfrm>
                <a:off x="7134700" y="7191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73" name="Google Shape;273;p5"/>
              <p:cNvSpPr/>
              <p:nvPr/>
            </p:nvSpPr>
            <p:spPr>
              <a:xfrm>
                <a:off x="7287100" y="7191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74" name="Google Shape;274;p5"/>
              <p:cNvSpPr/>
              <p:nvPr/>
            </p:nvSpPr>
            <p:spPr>
              <a:xfrm>
                <a:off x="7439500" y="7191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75" name="Google Shape;275;p5"/>
              <p:cNvSpPr/>
              <p:nvPr/>
            </p:nvSpPr>
            <p:spPr>
              <a:xfrm>
                <a:off x="7134700" y="8715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76" name="Google Shape;276;p5"/>
              <p:cNvSpPr/>
              <p:nvPr/>
            </p:nvSpPr>
            <p:spPr>
              <a:xfrm>
                <a:off x="7287100" y="8715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77" name="Google Shape;277;p5"/>
              <p:cNvSpPr/>
              <p:nvPr/>
            </p:nvSpPr>
            <p:spPr>
              <a:xfrm>
                <a:off x="7439500" y="8715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78" name="Google Shape;278;p5"/>
              <p:cNvSpPr/>
              <p:nvPr/>
            </p:nvSpPr>
            <p:spPr>
              <a:xfrm>
                <a:off x="7591900" y="4143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79" name="Google Shape;279;p5"/>
              <p:cNvSpPr/>
              <p:nvPr/>
            </p:nvSpPr>
            <p:spPr>
              <a:xfrm>
                <a:off x="7591900" y="5667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80" name="Google Shape;280;p5"/>
              <p:cNvSpPr/>
              <p:nvPr/>
            </p:nvSpPr>
            <p:spPr>
              <a:xfrm>
                <a:off x="7591900" y="7191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81" name="Google Shape;281;p5"/>
              <p:cNvSpPr/>
              <p:nvPr/>
            </p:nvSpPr>
            <p:spPr>
              <a:xfrm>
                <a:off x="7591919" y="8715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</p:grpSp>
        <p:grpSp>
          <p:nvGrpSpPr>
            <p:cNvPr id="282" name="Google Shape;282;p5"/>
            <p:cNvGrpSpPr/>
            <p:nvPr/>
          </p:nvGrpSpPr>
          <p:grpSpPr>
            <a:xfrm>
              <a:off x="8832384" y="670955"/>
              <a:ext cx="311815" cy="653721"/>
              <a:chOff x="5385375" y="498300"/>
              <a:chExt cx="802200" cy="556500"/>
            </a:xfrm>
          </p:grpSpPr>
          <p:sp>
            <p:nvSpPr>
              <p:cNvPr id="283" name="Google Shape;283;p5"/>
              <p:cNvSpPr/>
              <p:nvPr/>
            </p:nvSpPr>
            <p:spPr>
              <a:xfrm>
                <a:off x="5385375" y="498300"/>
                <a:ext cx="802200" cy="993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84" name="Google Shape;284;p5"/>
              <p:cNvSpPr/>
              <p:nvPr/>
            </p:nvSpPr>
            <p:spPr>
              <a:xfrm>
                <a:off x="5385375" y="726900"/>
                <a:ext cx="802200" cy="993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285" name="Google Shape;285;p5"/>
              <p:cNvSpPr/>
              <p:nvPr/>
            </p:nvSpPr>
            <p:spPr>
              <a:xfrm>
                <a:off x="5385375" y="955500"/>
                <a:ext cx="802200" cy="993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</p:grpSp>
      </p:grpSp>
      <p:sp>
        <p:nvSpPr>
          <p:cNvPr id="286" name="Google Shape;286;p5"/>
          <p:cNvSpPr txBox="1">
            <a:spLocks noGrp="1"/>
          </p:cNvSpPr>
          <p:nvPr>
            <p:ph type="title"/>
          </p:nvPr>
        </p:nvSpPr>
        <p:spPr>
          <a:xfrm>
            <a:off x="881467" y="885733"/>
            <a:ext cx="10457600" cy="871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5"/>
          <p:cNvSpPr txBox="1">
            <a:spLocks noGrp="1"/>
          </p:cNvSpPr>
          <p:nvPr>
            <p:ph type="body" idx="1"/>
          </p:nvPr>
        </p:nvSpPr>
        <p:spPr>
          <a:xfrm>
            <a:off x="1599700" y="2132933"/>
            <a:ext cx="8867600" cy="3848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507987" rtl="0">
              <a:spcBef>
                <a:spcPts val="800"/>
              </a:spcBef>
              <a:spcAft>
                <a:spcPts val="0"/>
              </a:spcAft>
              <a:buSzPts val="2400"/>
              <a:buChar char="▪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19170" lvl="1" indent="-507987" rtl="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2pPr>
            <a:lvl3pPr marL="1828754" lvl="2" indent="-507987" rtl="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3pPr>
            <a:lvl4pPr marL="2438339" lvl="3" indent="-507987" rtl="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4pPr>
            <a:lvl5pPr marL="3047924" lvl="4" indent="-507987" rtl="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5pPr>
            <a:lvl6pPr marL="3657509" lvl="5" indent="-507987" rtl="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6pPr>
            <a:lvl7pPr marL="4267093" lvl="6" indent="-507987" rtl="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7pPr>
            <a:lvl8pPr marL="4876678" lvl="7" indent="-507987" rtl="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8pPr>
            <a:lvl9pPr marL="5486263" lvl="8" indent="-507987" rtl="0">
              <a:spcBef>
                <a:spcPts val="0"/>
              </a:spcBef>
              <a:spcAft>
                <a:spcPts val="0"/>
              </a:spcAft>
              <a:buSzPts val="2400"/>
              <a:buChar char="▫"/>
              <a:defRPr/>
            </a:lvl9pPr>
          </a:lstStyle>
          <a:p>
            <a:endParaRPr/>
          </a:p>
        </p:txBody>
      </p:sp>
      <p:sp>
        <p:nvSpPr>
          <p:cNvPr id="288" name="Google Shape;288;p5"/>
          <p:cNvSpPr txBox="1">
            <a:spLocks noGrp="1"/>
          </p:cNvSpPr>
          <p:nvPr>
            <p:ph type="sldNum" idx="12"/>
          </p:nvPr>
        </p:nvSpPr>
        <p:spPr>
          <a:xfrm>
            <a:off x="11339005" y="5986400"/>
            <a:ext cx="871600" cy="871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980946F-89FF-4E80-B7B0-C1B2E24261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>
              <a:solidFill>
                <a:srgbClr val="272A36">
                  <a:tint val="75000"/>
                </a:srgb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3430017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1" name="Google Shape;391;p9"/>
          <p:cNvGrpSpPr/>
          <p:nvPr/>
        </p:nvGrpSpPr>
        <p:grpSpPr>
          <a:xfrm>
            <a:off x="-275" y="1"/>
            <a:ext cx="12210876" cy="6866447"/>
            <a:chOff x="-207" y="0"/>
            <a:chExt cx="9158157" cy="5149835"/>
          </a:xfrm>
        </p:grpSpPr>
        <p:sp>
          <p:nvSpPr>
            <p:cNvPr id="392" name="Google Shape;392;p9"/>
            <p:cNvSpPr/>
            <p:nvPr/>
          </p:nvSpPr>
          <p:spPr>
            <a:xfrm>
              <a:off x="8504250" y="4489800"/>
              <a:ext cx="653700" cy="653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393" name="Google Shape;393;p9"/>
            <p:cNvSpPr/>
            <p:nvPr/>
          </p:nvSpPr>
          <p:spPr>
            <a:xfrm>
              <a:off x="0" y="0"/>
              <a:ext cx="653700" cy="51435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394" name="Google Shape;394;p9"/>
            <p:cNvSpPr/>
            <p:nvPr/>
          </p:nvSpPr>
          <p:spPr>
            <a:xfrm>
              <a:off x="322375" y="664300"/>
              <a:ext cx="8181900" cy="653700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endParaRPr sz="2400"/>
            </a:p>
          </p:txBody>
        </p:sp>
        <p:grpSp>
          <p:nvGrpSpPr>
            <p:cNvPr id="395" name="Google Shape;395;p9"/>
            <p:cNvGrpSpPr/>
            <p:nvPr/>
          </p:nvGrpSpPr>
          <p:grpSpPr>
            <a:xfrm>
              <a:off x="-207" y="664293"/>
              <a:ext cx="155867" cy="653721"/>
              <a:chOff x="5385375" y="498300"/>
              <a:chExt cx="802200" cy="556500"/>
            </a:xfrm>
          </p:grpSpPr>
          <p:sp>
            <p:nvSpPr>
              <p:cNvPr id="396" name="Google Shape;396;p9"/>
              <p:cNvSpPr/>
              <p:nvPr/>
            </p:nvSpPr>
            <p:spPr>
              <a:xfrm>
                <a:off x="5385375" y="498300"/>
                <a:ext cx="802200" cy="9930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97" name="Google Shape;397;p9"/>
              <p:cNvSpPr/>
              <p:nvPr/>
            </p:nvSpPr>
            <p:spPr>
              <a:xfrm>
                <a:off x="5385375" y="726900"/>
                <a:ext cx="802200" cy="9930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398" name="Google Shape;398;p9"/>
              <p:cNvSpPr/>
              <p:nvPr/>
            </p:nvSpPr>
            <p:spPr>
              <a:xfrm>
                <a:off x="5385375" y="955500"/>
                <a:ext cx="802200" cy="9930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</p:grpSp>
        <p:grpSp>
          <p:nvGrpSpPr>
            <p:cNvPr id="399" name="Google Shape;399;p9"/>
            <p:cNvGrpSpPr/>
            <p:nvPr/>
          </p:nvGrpSpPr>
          <p:grpSpPr>
            <a:xfrm>
              <a:off x="322384" y="4483463"/>
              <a:ext cx="666347" cy="666373"/>
              <a:chOff x="7134700" y="414375"/>
              <a:chExt cx="501919" cy="501900"/>
            </a:xfrm>
          </p:grpSpPr>
          <p:sp>
            <p:nvSpPr>
              <p:cNvPr id="400" name="Google Shape;400;p9"/>
              <p:cNvSpPr/>
              <p:nvPr/>
            </p:nvSpPr>
            <p:spPr>
              <a:xfrm>
                <a:off x="7134700" y="4143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01" name="Google Shape;401;p9"/>
              <p:cNvSpPr/>
              <p:nvPr/>
            </p:nvSpPr>
            <p:spPr>
              <a:xfrm>
                <a:off x="7287100" y="4143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02" name="Google Shape;402;p9"/>
              <p:cNvSpPr/>
              <p:nvPr/>
            </p:nvSpPr>
            <p:spPr>
              <a:xfrm>
                <a:off x="7439500" y="4143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03" name="Google Shape;403;p9"/>
              <p:cNvSpPr/>
              <p:nvPr/>
            </p:nvSpPr>
            <p:spPr>
              <a:xfrm>
                <a:off x="7134700" y="5667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04" name="Google Shape;404;p9"/>
              <p:cNvSpPr/>
              <p:nvPr/>
            </p:nvSpPr>
            <p:spPr>
              <a:xfrm>
                <a:off x="7287100" y="5667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05" name="Google Shape;405;p9"/>
              <p:cNvSpPr/>
              <p:nvPr/>
            </p:nvSpPr>
            <p:spPr>
              <a:xfrm>
                <a:off x="7439500" y="5667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06" name="Google Shape;406;p9"/>
              <p:cNvSpPr/>
              <p:nvPr/>
            </p:nvSpPr>
            <p:spPr>
              <a:xfrm>
                <a:off x="7134700" y="7191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07" name="Google Shape;407;p9"/>
              <p:cNvSpPr/>
              <p:nvPr/>
            </p:nvSpPr>
            <p:spPr>
              <a:xfrm>
                <a:off x="7287100" y="7191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08" name="Google Shape;408;p9"/>
              <p:cNvSpPr/>
              <p:nvPr/>
            </p:nvSpPr>
            <p:spPr>
              <a:xfrm>
                <a:off x="7439500" y="7191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09" name="Google Shape;409;p9"/>
              <p:cNvSpPr/>
              <p:nvPr/>
            </p:nvSpPr>
            <p:spPr>
              <a:xfrm>
                <a:off x="7134700" y="8715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10" name="Google Shape;410;p9"/>
              <p:cNvSpPr/>
              <p:nvPr/>
            </p:nvSpPr>
            <p:spPr>
              <a:xfrm>
                <a:off x="7287100" y="8715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11" name="Google Shape;411;p9"/>
              <p:cNvSpPr/>
              <p:nvPr/>
            </p:nvSpPr>
            <p:spPr>
              <a:xfrm>
                <a:off x="7439500" y="8715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12" name="Google Shape;412;p9"/>
              <p:cNvSpPr/>
              <p:nvPr/>
            </p:nvSpPr>
            <p:spPr>
              <a:xfrm>
                <a:off x="7591900" y="4143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13" name="Google Shape;413;p9"/>
              <p:cNvSpPr/>
              <p:nvPr/>
            </p:nvSpPr>
            <p:spPr>
              <a:xfrm>
                <a:off x="7591900" y="5667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14" name="Google Shape;414;p9"/>
              <p:cNvSpPr/>
              <p:nvPr/>
            </p:nvSpPr>
            <p:spPr>
              <a:xfrm>
                <a:off x="7591900" y="7191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15" name="Google Shape;415;p9"/>
              <p:cNvSpPr/>
              <p:nvPr/>
            </p:nvSpPr>
            <p:spPr>
              <a:xfrm>
                <a:off x="7591919" y="871575"/>
                <a:ext cx="44700" cy="44700"/>
              </a:xfrm>
              <a:prstGeom prst="rect">
                <a:avLst/>
              </a:pr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</p:grpSp>
        <p:grpSp>
          <p:nvGrpSpPr>
            <p:cNvPr id="416" name="Google Shape;416;p9"/>
            <p:cNvGrpSpPr/>
            <p:nvPr/>
          </p:nvGrpSpPr>
          <p:grpSpPr>
            <a:xfrm>
              <a:off x="8832384" y="670955"/>
              <a:ext cx="311815" cy="653721"/>
              <a:chOff x="5385375" y="498300"/>
              <a:chExt cx="802200" cy="556500"/>
            </a:xfrm>
          </p:grpSpPr>
          <p:sp>
            <p:nvSpPr>
              <p:cNvPr id="417" name="Google Shape;417;p9"/>
              <p:cNvSpPr/>
              <p:nvPr/>
            </p:nvSpPr>
            <p:spPr>
              <a:xfrm>
                <a:off x="5385375" y="498300"/>
                <a:ext cx="802200" cy="993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18" name="Google Shape;418;p9"/>
              <p:cNvSpPr/>
              <p:nvPr/>
            </p:nvSpPr>
            <p:spPr>
              <a:xfrm>
                <a:off x="5385375" y="726900"/>
                <a:ext cx="802200" cy="993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  <p:sp>
            <p:nvSpPr>
              <p:cNvPr id="419" name="Google Shape;419;p9"/>
              <p:cNvSpPr/>
              <p:nvPr/>
            </p:nvSpPr>
            <p:spPr>
              <a:xfrm>
                <a:off x="5385375" y="955500"/>
                <a:ext cx="802200" cy="993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endParaRPr sz="2400"/>
              </a:p>
            </p:txBody>
          </p:sp>
        </p:grpSp>
      </p:grpSp>
      <p:sp>
        <p:nvSpPr>
          <p:cNvPr id="420" name="Google Shape;420;p9"/>
          <p:cNvSpPr txBox="1">
            <a:spLocks noGrp="1"/>
          </p:cNvSpPr>
          <p:nvPr>
            <p:ph type="title"/>
          </p:nvPr>
        </p:nvSpPr>
        <p:spPr>
          <a:xfrm>
            <a:off x="881467" y="885733"/>
            <a:ext cx="10457600" cy="871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9pPr>
          </a:lstStyle>
          <a:p>
            <a:endParaRPr/>
          </a:p>
        </p:txBody>
      </p:sp>
      <p:sp>
        <p:nvSpPr>
          <p:cNvPr id="421" name="Google Shape;421;p9"/>
          <p:cNvSpPr txBox="1">
            <a:spLocks noGrp="1"/>
          </p:cNvSpPr>
          <p:nvPr>
            <p:ph type="sldNum" idx="12"/>
          </p:nvPr>
        </p:nvSpPr>
        <p:spPr>
          <a:xfrm>
            <a:off x="11339005" y="5986400"/>
            <a:ext cx="871600" cy="871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2C92FE-2571-4113-8A7E-3A2B04D6D7A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>
              <a:solidFill>
                <a:srgbClr val="272A36">
                  <a:tint val="75000"/>
                </a:srgb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9631588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 u="sng">
                <a:solidFill>
                  <a:srgbClr val="00070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1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00070E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54;p13">
            <a:extLst>
              <a:ext uri="{FF2B5EF4-FFF2-40B4-BE49-F238E27FC236}">
                <a16:creationId xmlns:a16="http://schemas.microsoft.com/office/drawing/2014/main" id="{FE1E3CD9-3D61-4FDB-ABCC-E5AF0D7CE367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2000" cy="685800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580160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1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00070E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62575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4663736" y="-8"/>
            <a:ext cx="7528264" cy="6858007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bg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2707" y="2401677"/>
            <a:ext cx="7358930" cy="1348802"/>
          </a:xfrm>
        </p:spPr>
        <p:txBody>
          <a:bodyPr/>
          <a:lstStyle>
            <a:lvl1pPr>
              <a:defRPr sz="4400"/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TITLE OF PRESENT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C600C45-84BF-667F-60D3-94DEE0A476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2706" y="4145092"/>
            <a:ext cx="7358930" cy="4426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Subhead and/or meeting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13A3FE-3464-A4E0-20B7-C4EB2EA800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705" y="4685690"/>
            <a:ext cx="7358930" cy="442675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Dat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C22D045-F2E9-3340-0E64-E03750416538}"/>
              </a:ext>
            </a:extLst>
          </p:cNvPr>
          <p:cNvCxnSpPr>
            <a:cxnSpLocks/>
          </p:cNvCxnSpPr>
          <p:nvPr userDrawn="1"/>
        </p:nvCxnSpPr>
        <p:spPr>
          <a:xfrm>
            <a:off x="373271" y="6081408"/>
            <a:ext cx="5199489" cy="0"/>
          </a:xfrm>
          <a:prstGeom prst="line">
            <a:avLst/>
          </a:prstGeom>
          <a:ln w="381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2C1106A-2BEF-859E-CAB9-355F7C29C3D5}"/>
              </a:ext>
            </a:extLst>
          </p:cNvPr>
          <p:cNvCxnSpPr>
            <a:cxnSpLocks/>
          </p:cNvCxnSpPr>
          <p:nvPr userDrawn="1"/>
        </p:nvCxnSpPr>
        <p:spPr>
          <a:xfrm>
            <a:off x="7821635" y="6081408"/>
            <a:ext cx="3996942" cy="0"/>
          </a:xfrm>
          <a:prstGeom prst="line">
            <a:avLst/>
          </a:prstGeom>
          <a:ln w="381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12262309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68580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C22D045-F2E9-3340-0E64-E03750416538}"/>
              </a:ext>
            </a:extLst>
          </p:cNvPr>
          <p:cNvCxnSpPr>
            <a:cxnSpLocks/>
          </p:cNvCxnSpPr>
          <p:nvPr userDrawn="1"/>
        </p:nvCxnSpPr>
        <p:spPr>
          <a:xfrm>
            <a:off x="438838" y="6081408"/>
            <a:ext cx="11314325" cy="0"/>
          </a:xfrm>
          <a:prstGeom prst="line">
            <a:avLst/>
          </a:prstGeom>
          <a:ln w="381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239542C0-05CC-07FD-FDFD-45D8A9C84C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96848" y="3671268"/>
            <a:ext cx="3877768" cy="2410140"/>
          </a:xfrm>
          <a:prstGeom prst="rect">
            <a:avLst/>
          </a:prstGeom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364222" y="-8"/>
            <a:ext cx="7528264" cy="6858007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2707" y="418640"/>
            <a:ext cx="11314324" cy="3314005"/>
          </a:xfrm>
        </p:spPr>
        <p:txBody>
          <a:bodyPr anchor="ctr"/>
          <a:lstStyle>
            <a:lvl1pPr>
              <a:defRPr sz="7200"/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TITLE OF PRESENT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C600C45-84BF-667F-60D3-94DEE0A476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2706" y="4145092"/>
            <a:ext cx="7358930" cy="4426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Subhead and/or meeting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13A3FE-3464-A4E0-20B7-C4EB2EA800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705" y="4685690"/>
            <a:ext cx="7358930" cy="442675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884282734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68580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-953138" y="0"/>
            <a:ext cx="7547159" cy="6858000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48300" y="2911450"/>
            <a:ext cx="5892800" cy="1348802"/>
          </a:xfrm>
        </p:spPr>
        <p:txBody>
          <a:bodyPr/>
          <a:lstStyle>
            <a:lvl1pPr>
              <a:defRPr sz="4400"/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TITLE OF PRESENT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C600C45-84BF-667F-60D3-94DEE0A476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8299" y="4654865"/>
            <a:ext cx="5892800" cy="4426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Subhead and/or meeting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13A3FE-3464-A4E0-20B7-C4EB2EA800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48298" y="5195464"/>
            <a:ext cx="5892800" cy="386702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33C8D4C-2C59-B708-E0D1-232B9FB6E4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787788" y="6081408"/>
            <a:ext cx="3404212" cy="77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761714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/Pref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991DF6A-7476-8374-397C-66D014EF3017}"/>
              </a:ext>
            </a:extLst>
          </p:cNvPr>
          <p:cNvSpPr/>
          <p:nvPr userDrawn="1"/>
        </p:nvSpPr>
        <p:spPr>
          <a:xfrm>
            <a:off x="0" y="-7"/>
            <a:ext cx="12192000" cy="28765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BCAD76A-447F-F7F2-0A6A-07254FB8730D}"/>
              </a:ext>
            </a:extLst>
          </p:cNvPr>
          <p:cNvSpPr/>
          <p:nvPr userDrawn="1"/>
        </p:nvSpPr>
        <p:spPr>
          <a:xfrm>
            <a:off x="535256" y="483907"/>
            <a:ext cx="2208862" cy="2012202"/>
          </a:xfrm>
          <a:custGeom>
            <a:avLst/>
            <a:gdLst>
              <a:gd name="connsiteX0" fmla="*/ 5637321 w 7528264"/>
              <a:gd name="connsiteY0" fmla="*/ 0 h 6889072"/>
              <a:gd name="connsiteX1" fmla="*/ 2024109 w 7528264"/>
              <a:gd name="connsiteY1" fmla="*/ 5024761 h 6889072"/>
              <a:gd name="connsiteX2" fmla="*/ 958789 w 7528264"/>
              <a:gd name="connsiteY2" fmla="*/ 3524435 h 6889072"/>
              <a:gd name="connsiteX3" fmla="*/ 0 w 7528264"/>
              <a:gd name="connsiteY3" fmla="*/ 4829453 h 6889072"/>
              <a:gd name="connsiteX4" fmla="*/ 1447061 w 7528264"/>
              <a:gd name="connsiteY4" fmla="*/ 6889072 h 6889072"/>
              <a:gd name="connsiteX5" fmla="*/ 2645546 w 7528264"/>
              <a:gd name="connsiteY5" fmla="*/ 6880195 h 6889072"/>
              <a:gd name="connsiteX6" fmla="*/ 7528264 w 7528264"/>
              <a:gd name="connsiteY6" fmla="*/ 0 h 6889072"/>
              <a:gd name="connsiteX7" fmla="*/ 5637321 w 7528264"/>
              <a:gd name="connsiteY7" fmla="*/ 0 h 68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28264" h="6889072">
                <a:moveTo>
                  <a:pt x="5637321" y="0"/>
                </a:moveTo>
                <a:lnTo>
                  <a:pt x="2024109" y="5024761"/>
                </a:lnTo>
                <a:lnTo>
                  <a:pt x="958789" y="3524435"/>
                </a:lnTo>
                <a:lnTo>
                  <a:pt x="0" y="4829453"/>
                </a:lnTo>
                <a:lnTo>
                  <a:pt x="1447061" y="6889072"/>
                </a:lnTo>
                <a:lnTo>
                  <a:pt x="2645546" y="6880195"/>
                </a:lnTo>
                <a:lnTo>
                  <a:pt x="7528264" y="0"/>
                </a:lnTo>
                <a:lnTo>
                  <a:pt x="5637321" y="0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811C99-6DCF-1B2B-68E3-31F3A94064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2192" y="464858"/>
            <a:ext cx="7358930" cy="2164042"/>
          </a:xfrm>
        </p:spPr>
        <p:txBody>
          <a:bodyPr anchor="ctr" anchorCtr="0"/>
          <a:lstStyle>
            <a:lvl1pPr>
              <a:defRPr sz="4800"/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Introduction  Preface</a:t>
            </a:r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D00EB1DA-48E2-552D-390E-93B76B09DC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E67E9C-E402-346E-D079-EA211EC5B3E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42192" y="3093765"/>
            <a:ext cx="7358930" cy="2809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8668533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26.xml"/><Relationship Id="rId34" Type="http://schemas.openxmlformats.org/officeDocument/2006/relationships/slideLayout" Target="../slideLayouts/slideLayout39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38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29" Type="http://schemas.openxmlformats.org/officeDocument/2006/relationships/slideLayout" Target="../slideLayouts/slideLayout34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slideLayout" Target="../slideLayouts/slideLayout37.xml"/><Relationship Id="rId37" Type="http://schemas.openxmlformats.org/officeDocument/2006/relationships/tags" Target="../tags/tag1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36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5.xml"/><Relationship Id="rId35" Type="http://schemas.openxmlformats.org/officeDocument/2006/relationships/slideLayout" Target="../slideLayouts/slideLayout40.xml"/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6076188"/>
            <a:ext cx="12192000" cy="782320"/>
          </a:xfrm>
          <a:custGeom>
            <a:avLst/>
            <a:gdLst/>
            <a:ahLst/>
            <a:cxnLst/>
            <a:rect l="l" t="t" r="r" b="b"/>
            <a:pathLst>
              <a:path w="12192000" h="782320">
                <a:moveTo>
                  <a:pt x="12192000" y="0"/>
                </a:moveTo>
                <a:lnTo>
                  <a:pt x="0" y="0"/>
                </a:lnTo>
                <a:lnTo>
                  <a:pt x="0" y="781812"/>
                </a:lnTo>
                <a:lnTo>
                  <a:pt x="12192000" y="781812"/>
                </a:lnTo>
                <a:lnTo>
                  <a:pt x="12192000" y="0"/>
                </a:lnTo>
                <a:close/>
              </a:path>
            </a:pathLst>
          </a:custGeom>
          <a:solidFill>
            <a:srgbClr val="FFCF3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18872" y="6080760"/>
            <a:ext cx="3404615" cy="777239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06400" y="566420"/>
            <a:ext cx="11379200" cy="5137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 u="sng">
                <a:solidFill>
                  <a:srgbClr val="00070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30077" y="2882055"/>
            <a:ext cx="6395084" cy="18929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09247" y="6372611"/>
            <a:ext cx="247015" cy="1962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rgbClr val="00070E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6FCDA1-B2C5-6548-B895-AF1321DBA8F4}"/>
              </a:ext>
            </a:extLst>
          </p:cNvPr>
          <p:cNvSpPr/>
          <p:nvPr userDrawn="1"/>
        </p:nvSpPr>
        <p:spPr>
          <a:xfrm>
            <a:off x="0" y="6075776"/>
            <a:ext cx="12192000" cy="782224"/>
          </a:xfrm>
          <a:prstGeom prst="rect">
            <a:avLst/>
          </a:prstGeom>
          <a:solidFill>
            <a:srgbClr val="FFCF31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D2554F3-216C-4D96-9700-4167C9A7EB7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57200" y="0"/>
            <a:ext cx="11338560" cy="10740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46BD98C-B571-43D4-81FF-2F456DCE5E22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57200" y="1371600"/>
            <a:ext cx="11338560" cy="45188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880C12F-0958-4626-AFCF-E12503C1347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687ED32-77BF-4841-8205-C14A8F512EE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8CB2B45-2C05-4CEF-931C-2D0342C698C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F885B5E-952E-43E0-BDDE-E27C1CE5B9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CB42A18-D288-4E38-919E-67D261C0532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rgbClr val="BF9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7EDCAB2-1643-4DA5-A90B-8DA02D0430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19100" y="1100666"/>
            <a:ext cx="11353800" cy="0"/>
          </a:xfrm>
          <a:prstGeom prst="line">
            <a:avLst/>
          </a:prstGeom>
          <a:ln w="12700">
            <a:solidFill>
              <a:srgbClr val="FFD0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16FF2C9F-58DC-F4A5-1EAA-9BE9D631D261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rcRect/>
          <a:stretch/>
        </p:blipFill>
        <p:spPr>
          <a:xfrm>
            <a:off x="119551" y="6081408"/>
            <a:ext cx="3404212" cy="776592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B91CC4A-0A62-8CE4-DF57-654BF98653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2843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F4EED3D-B130-481A-8ECD-A0040EAC36C9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37"/>
    </p:custDataLst>
    <p:extLst>
      <p:ext uri="{BB962C8B-B14F-4D97-AF65-F5344CB8AC3E}">
        <p14:creationId xmlns:p14="http://schemas.microsoft.com/office/powerpoint/2010/main" val="39272531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  <p:sldLayoutId id="2147483690" r:id="rId24"/>
    <p:sldLayoutId id="2147483691" r:id="rId25"/>
    <p:sldLayoutId id="2147483692" r:id="rId26"/>
    <p:sldLayoutId id="2147483693" r:id="rId27"/>
    <p:sldLayoutId id="2147483694" r:id="rId28"/>
    <p:sldLayoutId id="2147483695" r:id="rId29"/>
    <p:sldLayoutId id="2147483696" r:id="rId30"/>
    <p:sldLayoutId id="2147483697" r:id="rId31"/>
    <p:sldLayoutId id="2147483698" r:id="rId32"/>
    <p:sldLayoutId id="2147483699" r:id="rId33"/>
    <p:sldLayoutId id="2147483700" r:id="rId34"/>
    <p:sldLayoutId id="2147483701" r:id="rId3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200" b="0" i="0" kern="1200" cap="all" baseline="0" dirty="0">
          <a:solidFill>
            <a:schemeClr val="bg1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600"/>
        </a:spcAft>
        <a:buFont typeface="Arial" panose="020B0604020202020204" pitchFamily="34" charset="0"/>
        <a:buNone/>
        <a:defRPr sz="22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Clr>
          <a:srgbClr val="FFD030"/>
        </a:buClr>
        <a:buFont typeface="Wingdings" panose="05000000000000000000" pitchFamily="2" charset="2"/>
        <a:buChar char="§"/>
        <a:defRPr sz="22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39825" indent="-225425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Wingdings" panose="05000000000000000000" pitchFamily="2" charset="2"/>
        <a:buChar char="§"/>
        <a:defRPr sz="20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–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healthpromotion@metroplus.org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metroplus.org/providers/model-of-care/" TargetMode="Externa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hyperlink" Target="https://health.gov/healthypeople/priority-areas/social-determinants-health" TargetMode="Externa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mailto:Healthpromotion@metroplus.org" TargetMode="External"/><Relationship Id="rId2" Type="http://schemas.openxmlformats.org/officeDocument/2006/relationships/hyperlink" Target="mailto:foodprograms@metroplus.org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FCF3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0" y="0"/>
            <a:ext cx="12175490" cy="6858000"/>
            <a:chOff x="0" y="0"/>
            <a:chExt cx="12175490" cy="6858000"/>
          </a:xfrm>
        </p:grpSpPr>
        <p:sp>
          <p:nvSpPr>
            <p:cNvPr id="4" name="object 4"/>
            <p:cNvSpPr/>
            <p:nvPr/>
          </p:nvSpPr>
          <p:spPr>
            <a:xfrm>
              <a:off x="439673" y="6081521"/>
              <a:ext cx="11314430" cy="0"/>
            </a:xfrm>
            <a:custGeom>
              <a:avLst/>
              <a:gdLst/>
              <a:ahLst/>
              <a:cxnLst/>
              <a:rect l="l" t="t" r="r" b="b"/>
              <a:pathLst>
                <a:path w="11314430">
                  <a:moveTo>
                    <a:pt x="0" y="0"/>
                  </a:moveTo>
                  <a:lnTo>
                    <a:pt x="11314328" y="0"/>
                  </a:lnTo>
                </a:path>
              </a:pathLst>
            </a:custGeom>
            <a:ln w="38100">
              <a:solidFill>
                <a:srgbClr val="FFEB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296656" y="3671315"/>
              <a:ext cx="3878579" cy="2409443"/>
            </a:xfrm>
            <a:prstGeom prst="rect">
              <a:avLst/>
            </a:prstGeom>
          </p:spPr>
        </p:pic>
        <p:sp>
          <p:nvSpPr>
            <p:cNvPr id="6" name="object 6"/>
            <p:cNvSpPr/>
            <p:nvPr/>
          </p:nvSpPr>
          <p:spPr>
            <a:xfrm>
              <a:off x="364236" y="0"/>
              <a:ext cx="7528559" cy="6858000"/>
            </a:xfrm>
            <a:custGeom>
              <a:avLst/>
              <a:gdLst/>
              <a:ahLst/>
              <a:cxnLst/>
              <a:rect l="l" t="t" r="r" b="b"/>
              <a:pathLst>
                <a:path w="7528559" h="6858000">
                  <a:moveTo>
                    <a:pt x="7528559" y="0"/>
                  </a:moveTo>
                  <a:lnTo>
                    <a:pt x="5637542" y="0"/>
                  </a:lnTo>
                  <a:lnTo>
                    <a:pt x="2024189" y="5002098"/>
                  </a:lnTo>
                  <a:lnTo>
                    <a:pt x="958837" y="3508540"/>
                  </a:lnTo>
                  <a:lnTo>
                    <a:pt x="0" y="4807673"/>
                  </a:lnTo>
                  <a:lnTo>
                    <a:pt x="1447126" y="6858000"/>
                  </a:lnTo>
                  <a:lnTo>
                    <a:pt x="2645651" y="6849160"/>
                  </a:lnTo>
                  <a:lnTo>
                    <a:pt x="752855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" name="object 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309116"/>
              <a:ext cx="11905488" cy="1833371"/>
            </a:xfrm>
            <a:prstGeom prst="rect">
              <a:avLst/>
            </a:prstGeom>
          </p:spPr>
        </p:pic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450011" y="1506677"/>
            <a:ext cx="10949305" cy="1031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6600" u="none" spc="10" dirty="0">
                <a:latin typeface="Arial Black"/>
                <a:cs typeface="Arial Black"/>
              </a:rPr>
              <a:t>Medicare</a:t>
            </a:r>
            <a:r>
              <a:rPr sz="6600" u="none" spc="-55" dirty="0">
                <a:latin typeface="Arial Black"/>
                <a:cs typeface="Arial Black"/>
              </a:rPr>
              <a:t> </a:t>
            </a:r>
            <a:r>
              <a:rPr sz="6600" u="none" dirty="0">
                <a:latin typeface="Arial Black"/>
                <a:cs typeface="Arial Black"/>
              </a:rPr>
              <a:t>Model</a:t>
            </a:r>
            <a:r>
              <a:rPr sz="6600" u="none" spc="-35" dirty="0">
                <a:latin typeface="Arial Black"/>
                <a:cs typeface="Arial Black"/>
              </a:rPr>
              <a:t> </a:t>
            </a:r>
            <a:r>
              <a:rPr sz="6600" u="none" dirty="0">
                <a:latin typeface="Arial Black"/>
                <a:cs typeface="Arial Black"/>
              </a:rPr>
              <a:t>of</a:t>
            </a:r>
            <a:r>
              <a:rPr sz="6600" u="none" spc="360" dirty="0">
                <a:latin typeface="Arial Black"/>
                <a:cs typeface="Arial Black"/>
              </a:rPr>
              <a:t> </a:t>
            </a:r>
            <a:r>
              <a:rPr sz="6600" u="none" spc="25" dirty="0">
                <a:latin typeface="Arial Black"/>
                <a:cs typeface="Arial Black"/>
              </a:rPr>
              <a:t>Care</a:t>
            </a:r>
            <a:endParaRPr sz="6600">
              <a:latin typeface="Arial Black"/>
              <a:cs typeface="Arial Black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50005" y="4124772"/>
            <a:ext cx="2328545" cy="8420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Provider</a:t>
            </a:r>
            <a:r>
              <a:rPr sz="2400" spc="-8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20" dirty="0">
                <a:solidFill>
                  <a:srgbClr val="00070E"/>
                </a:solidFill>
                <a:latin typeface="Arial"/>
                <a:cs typeface="Arial"/>
              </a:rPr>
              <a:t>Training</a:t>
            </a:r>
            <a:endParaRPr sz="2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385"/>
              </a:spcBef>
            </a:pPr>
            <a:r>
              <a:rPr sz="1800" spc="-15" dirty="0">
                <a:solidFill>
                  <a:srgbClr val="00070E"/>
                </a:solidFill>
                <a:latin typeface="Arial"/>
                <a:cs typeface="Arial"/>
              </a:rPr>
              <a:t>PRV</a:t>
            </a:r>
            <a:r>
              <a:rPr sz="18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24.053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05"/>
              </a:spcBef>
              <a:tabLst>
                <a:tab pos="11365865" algn="l"/>
              </a:tabLst>
            </a:pPr>
            <a:r>
              <a:rPr spc="-5" dirty="0"/>
              <a:t>TRANSITION</a:t>
            </a:r>
            <a:r>
              <a:rPr spc="-30" dirty="0"/>
              <a:t> </a:t>
            </a:r>
            <a:r>
              <a:rPr dirty="0"/>
              <a:t>OF</a:t>
            </a:r>
            <a:r>
              <a:rPr spc="-35" dirty="0"/>
              <a:t> </a:t>
            </a:r>
            <a:r>
              <a:rPr dirty="0"/>
              <a:t>CARE</a:t>
            </a:r>
            <a:r>
              <a:rPr spc="-10" dirty="0"/>
              <a:t> </a:t>
            </a:r>
            <a:r>
              <a:rPr spc="-15" dirty="0"/>
              <a:t>(TOC)	</a:t>
            </a:r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10</a:t>
            </a:fld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444500" y="1351279"/>
            <a:ext cx="11144250" cy="3865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174625">
              <a:lnSpc>
                <a:spcPct val="100000"/>
              </a:lnSpc>
              <a:spcBef>
                <a:spcPts val="100"/>
              </a:spcBef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Upon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dmission</a:t>
            </a:r>
            <a:r>
              <a:rPr sz="2400" spc="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a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hospital,</a:t>
            </a:r>
            <a:r>
              <a:rPr sz="24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he member’s</a:t>
            </a:r>
            <a:r>
              <a:rPr sz="24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urrent ICP</a:t>
            </a:r>
            <a:r>
              <a:rPr sz="2400" spc="-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s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sent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dmitting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facility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n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dmission</a:t>
            </a:r>
            <a:r>
              <a:rPr sz="2400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discharge</a:t>
            </a:r>
            <a:r>
              <a:rPr sz="2400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notification</a:t>
            </a:r>
            <a:r>
              <a:rPr sz="2400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letter is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ailed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24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he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provider</a:t>
            </a:r>
            <a:endParaRPr sz="2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200"/>
              </a:spcBef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Upon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discharge</a:t>
            </a:r>
            <a:r>
              <a:rPr sz="2400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from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hospital,</a:t>
            </a:r>
            <a:r>
              <a:rPr sz="24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a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anager</a:t>
            </a:r>
            <a:r>
              <a:rPr sz="24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will</a:t>
            </a:r>
            <a:r>
              <a:rPr sz="2400" spc="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reach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ut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mber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to: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onduct</a:t>
            </a:r>
            <a:r>
              <a:rPr sz="24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a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 transition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are </a:t>
            </a:r>
            <a:r>
              <a:rPr sz="2400" spc="-15" dirty="0">
                <a:solidFill>
                  <a:srgbClr val="00070E"/>
                </a:solidFill>
                <a:latin typeface="Arial"/>
                <a:cs typeface="Arial"/>
              </a:rPr>
              <a:t>(TOC)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 assessment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Ensure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the</a:t>
            </a:r>
            <a:r>
              <a:rPr sz="24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member’s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discharge</a:t>
            </a:r>
            <a:r>
              <a:rPr sz="24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plan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s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n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effect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Develop</a:t>
            </a:r>
            <a:r>
              <a:rPr sz="2400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a</a:t>
            </a:r>
            <a:r>
              <a:rPr sz="24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new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CP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Send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new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CP</a:t>
            </a:r>
            <a:r>
              <a:rPr sz="2400" spc="-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4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provider</a:t>
            </a:r>
            <a:r>
              <a:rPr sz="24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record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for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 feedback,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f needed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ontact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the</a:t>
            </a:r>
            <a:r>
              <a:rPr sz="24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mber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weekly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for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up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24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30 days</a:t>
            </a:r>
            <a:endParaRPr sz="2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152400" y="0"/>
            <a:ext cx="12192000" cy="6858000"/>
            <a:chOff x="0" y="0"/>
            <a:chExt cx="12192000" cy="685800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9669780" cy="6858000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125211" y="0"/>
              <a:ext cx="7066788" cy="6858000"/>
            </a:xfrm>
            <a:prstGeom prst="rect">
              <a:avLst/>
            </a:prstGeom>
          </p:spPr>
        </p:pic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5688773" y="685800"/>
            <a:ext cx="5634863" cy="517449"/>
          </a:xfrm>
          <a:prstGeom prst="rect">
            <a:avLst/>
          </a:prstGeom>
        </p:spPr>
        <p:txBody>
          <a:bodyPr vert="horz" wrap="square" lIns="0" tIns="679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535"/>
              </a:spcBef>
            </a:pPr>
            <a:r>
              <a:rPr u="none" dirty="0">
                <a:solidFill>
                  <a:srgbClr val="FFFFFF"/>
                </a:solidFill>
              </a:rPr>
              <a:t>YOUR</a:t>
            </a:r>
            <a:r>
              <a:rPr u="none" spc="-45" dirty="0">
                <a:solidFill>
                  <a:srgbClr val="FFFFFF"/>
                </a:solidFill>
              </a:rPr>
              <a:t> </a:t>
            </a:r>
            <a:r>
              <a:rPr u="none" dirty="0">
                <a:solidFill>
                  <a:srgbClr val="FFFFFF"/>
                </a:solidFill>
              </a:rPr>
              <a:t>ROLE</a:t>
            </a:r>
            <a:r>
              <a:rPr u="none" spc="-225" dirty="0">
                <a:solidFill>
                  <a:srgbClr val="FFFFFF"/>
                </a:solidFill>
              </a:rPr>
              <a:t> </a:t>
            </a:r>
            <a:r>
              <a:rPr u="none" dirty="0">
                <a:solidFill>
                  <a:srgbClr val="FFFFFF"/>
                </a:solidFill>
              </a:rPr>
              <a:t>AS</a:t>
            </a:r>
            <a:r>
              <a:rPr u="none" spc="-200" dirty="0">
                <a:solidFill>
                  <a:srgbClr val="FFFFFF"/>
                </a:solidFill>
              </a:rPr>
              <a:t> </a:t>
            </a:r>
            <a:r>
              <a:rPr u="none" dirty="0">
                <a:solidFill>
                  <a:srgbClr val="FFFFFF"/>
                </a:solidFill>
              </a:rPr>
              <a:t>A </a:t>
            </a:r>
            <a:r>
              <a:rPr u="none" spc="-875" dirty="0">
                <a:solidFill>
                  <a:srgbClr val="FFFFFF"/>
                </a:solidFill>
              </a:rPr>
              <a:t> </a:t>
            </a:r>
            <a:r>
              <a:rPr u="none" dirty="0">
                <a:solidFill>
                  <a:srgbClr val="FFFFFF"/>
                </a:solidFill>
              </a:rPr>
              <a:t>PROVIDER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6019800" y="1647464"/>
            <a:ext cx="5072888" cy="3589444"/>
          </a:xfrm>
          <a:prstGeom prst="rect">
            <a:avLst/>
          </a:prstGeom>
        </p:spPr>
        <p:txBody>
          <a:bodyPr vert="horz" wrap="square" lIns="0" tIns="49530" rIns="0" bIns="0" rtlCol="0">
            <a:spAutoFit/>
          </a:bodyPr>
          <a:lstStyle/>
          <a:p>
            <a:pPr marL="299085" marR="435609" indent="-287020">
              <a:lnSpc>
                <a:spcPts val="2380"/>
              </a:lnSpc>
              <a:spcBef>
                <a:spcPts val="390"/>
              </a:spcBef>
              <a:buClr>
                <a:srgbClr val="FFCF30"/>
              </a:buClr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See</a:t>
            </a:r>
            <a:r>
              <a:rPr sz="2200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your</a:t>
            </a:r>
            <a:r>
              <a:rPr sz="22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patients</a:t>
            </a:r>
            <a:r>
              <a:rPr sz="2200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for</a:t>
            </a:r>
            <a:r>
              <a:rPr sz="22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their </a:t>
            </a:r>
            <a:r>
              <a:rPr sz="2200" spc="-59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annual</a:t>
            </a:r>
            <a:r>
              <a:rPr sz="22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wellness</a:t>
            </a:r>
            <a:r>
              <a:rPr sz="2200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visit</a:t>
            </a:r>
            <a:endParaRPr sz="2200" dirty="0">
              <a:latin typeface="Arial"/>
              <a:cs typeface="Arial"/>
            </a:endParaRPr>
          </a:p>
          <a:p>
            <a:pPr marL="299085" marR="62230" indent="-287020">
              <a:lnSpc>
                <a:spcPts val="2380"/>
              </a:lnSpc>
              <a:spcBef>
                <a:spcPts val="1190"/>
              </a:spcBef>
              <a:buClr>
                <a:srgbClr val="FFCF30"/>
              </a:buClr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Schedule an appointment </a:t>
            </a:r>
            <a:r>
              <a:rPr sz="22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within 7 days</a:t>
            </a:r>
            <a:r>
              <a:rPr sz="22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of</a:t>
            </a:r>
            <a:r>
              <a:rPr sz="2200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discharge </a:t>
            </a:r>
            <a:r>
              <a:rPr sz="22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from</a:t>
            </a:r>
            <a:r>
              <a:rPr sz="2200" spc="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22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hospital,</a:t>
            </a:r>
            <a:r>
              <a:rPr sz="2200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rehabilitation </a:t>
            </a:r>
            <a:r>
              <a:rPr sz="2200" spc="-59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or</a:t>
            </a:r>
            <a:r>
              <a:rPr sz="2200" spc="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skilled</a:t>
            </a:r>
            <a:r>
              <a:rPr sz="2200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nursing</a:t>
            </a:r>
            <a:r>
              <a:rPr sz="22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facility</a:t>
            </a:r>
            <a:endParaRPr sz="2200" dirty="0">
              <a:latin typeface="Arial"/>
              <a:cs typeface="Arial"/>
            </a:endParaRPr>
          </a:p>
          <a:p>
            <a:pPr marL="299085" marR="578485" indent="-287020">
              <a:lnSpc>
                <a:spcPts val="2380"/>
              </a:lnSpc>
              <a:spcBef>
                <a:spcPts val="1185"/>
              </a:spcBef>
              <a:buClr>
                <a:srgbClr val="FFCF30"/>
              </a:buClr>
              <a:buFont typeface="Wingdings"/>
              <a:buChar char=""/>
              <a:tabLst>
                <a:tab pos="298450" algn="l"/>
                <a:tab pos="299720" algn="l"/>
              </a:tabLst>
            </a:pP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Review medications with </a:t>
            </a:r>
            <a:r>
              <a:rPr sz="2200" spc="-6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your</a:t>
            </a:r>
            <a:r>
              <a:rPr sz="2200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patient</a:t>
            </a:r>
            <a:endParaRPr sz="2200" dirty="0">
              <a:latin typeface="Arial"/>
              <a:cs typeface="Arial"/>
            </a:endParaRPr>
          </a:p>
          <a:p>
            <a:pPr marL="299085" marR="5080" indent="-287020">
              <a:lnSpc>
                <a:spcPts val="2380"/>
              </a:lnSpc>
              <a:spcBef>
                <a:spcPts val="1195"/>
              </a:spcBef>
              <a:buClr>
                <a:srgbClr val="FFCF30"/>
              </a:buClr>
              <a:buFont typeface="Wingdings"/>
              <a:buChar char=""/>
              <a:tabLst>
                <a:tab pos="298450" algn="l"/>
                <a:tab pos="299720" algn="l"/>
              </a:tabLst>
            </a:pP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Review</a:t>
            </a:r>
            <a:r>
              <a:rPr sz="22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the </a:t>
            </a:r>
            <a:r>
              <a:rPr sz="2200" dirty="0">
                <a:solidFill>
                  <a:srgbClr val="FFFFFF"/>
                </a:solidFill>
                <a:latin typeface="Arial"/>
                <a:cs typeface="Arial"/>
              </a:rPr>
              <a:t>member’s </a:t>
            </a:r>
            <a:r>
              <a:rPr sz="2200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individualized care plan (ICP) </a:t>
            </a:r>
            <a:r>
              <a:rPr sz="2200" spc="-6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and</a:t>
            </a:r>
            <a:r>
              <a:rPr sz="2200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submit</a:t>
            </a:r>
            <a:r>
              <a:rPr sz="2200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feedback</a:t>
            </a:r>
            <a:r>
              <a:rPr sz="22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where </a:t>
            </a:r>
            <a:r>
              <a:rPr sz="22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FFFFFF"/>
                </a:solidFill>
                <a:latin typeface="Arial"/>
                <a:cs typeface="Arial"/>
              </a:rPr>
              <a:t>applicable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1092688" y="6425628"/>
            <a:ext cx="18097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888888"/>
                </a:solidFill>
                <a:latin typeface="Calibri"/>
                <a:cs typeface="Calibri"/>
              </a:rPr>
              <a:t>11</a:t>
            </a:r>
            <a:endParaRPr sz="12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05"/>
              </a:spcBef>
              <a:tabLst>
                <a:tab pos="11365865" algn="l"/>
              </a:tabLst>
            </a:pPr>
            <a:r>
              <a:rPr dirty="0"/>
              <a:t>RESOURCES	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367027" y="4562855"/>
            <a:ext cx="9552431" cy="902207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444500" y="1351279"/>
            <a:ext cx="10804525" cy="38315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ontact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troPlusHealth</a:t>
            </a:r>
            <a:r>
              <a:rPr sz="2400" spc="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anagement</a:t>
            </a:r>
            <a:r>
              <a:rPr sz="24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Department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for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ssistance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with </a:t>
            </a:r>
            <a:r>
              <a:rPr sz="2400" spc="-6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are coordination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Email:</a:t>
            </a:r>
            <a:r>
              <a:rPr sz="2400" spc="5" dirty="0">
                <a:solidFill>
                  <a:srgbClr val="9C6025"/>
                </a:solidFill>
                <a:latin typeface="Arial"/>
                <a:cs typeface="Arial"/>
              </a:rPr>
              <a:t> </a:t>
            </a:r>
            <a:r>
              <a:rPr sz="2400" b="1" u="heavy" spc="-5" dirty="0">
                <a:solidFill>
                  <a:srgbClr val="9C6025"/>
                </a:solidFill>
                <a:uFill>
                  <a:solidFill>
                    <a:srgbClr val="9C6025"/>
                  </a:solidFill>
                </a:uFill>
                <a:latin typeface="Arial"/>
                <a:cs typeface="Arial"/>
                <a:hlinkClick r:id="rId3"/>
              </a:rPr>
              <a:t>healthpromotion@metroplus.org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Phone: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212.908.8445</a:t>
            </a:r>
            <a:endParaRPr sz="2400">
              <a:latin typeface="Arial"/>
              <a:cs typeface="Arial"/>
            </a:endParaRPr>
          </a:p>
          <a:p>
            <a:pPr marL="12700" marR="375285">
              <a:lnSpc>
                <a:spcPct val="100000"/>
              </a:lnSpc>
              <a:spcBef>
                <a:spcPts val="1200"/>
              </a:spcBef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dditional</a:t>
            </a:r>
            <a:r>
              <a:rPr sz="2400" spc="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nformation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s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available</a:t>
            </a:r>
            <a:r>
              <a:rPr sz="2400" spc="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n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the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Provider</a:t>
            </a:r>
            <a:r>
              <a:rPr sz="24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website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n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the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provider </a:t>
            </a:r>
            <a:r>
              <a:rPr sz="2400" spc="-6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newsletters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i="1" spc="-5" dirty="0">
                <a:solidFill>
                  <a:srgbClr val="00070E"/>
                </a:solidFill>
                <a:latin typeface="Arial"/>
                <a:cs typeface="Arial"/>
              </a:rPr>
              <a:t>Provider</a:t>
            </a:r>
            <a:r>
              <a:rPr sz="2400" i="1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i="1" spc="-5" dirty="0">
                <a:solidFill>
                  <a:srgbClr val="00070E"/>
                </a:solidFill>
                <a:latin typeface="Arial"/>
                <a:cs typeface="Arial"/>
              </a:rPr>
              <a:t>Manual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.</a:t>
            </a:r>
            <a:endParaRPr sz="24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2700">
              <a:latin typeface="Arial"/>
              <a:cs typeface="Arial"/>
            </a:endParaRPr>
          </a:p>
          <a:p>
            <a:pPr marL="1175385">
              <a:lnSpc>
                <a:spcPct val="100000"/>
              </a:lnSpc>
              <a:spcBef>
                <a:spcPts val="2140"/>
              </a:spcBef>
            </a:pPr>
            <a:r>
              <a:rPr sz="3200" b="1" spc="-85" dirty="0">
                <a:solidFill>
                  <a:srgbClr val="00070E"/>
                </a:solidFill>
                <a:latin typeface="Arial"/>
                <a:cs typeface="Arial"/>
              </a:rPr>
              <a:t>You</a:t>
            </a:r>
            <a:r>
              <a:rPr sz="3200" b="1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3200" b="1" spc="-5" dirty="0">
                <a:solidFill>
                  <a:srgbClr val="00070E"/>
                </a:solidFill>
                <a:latin typeface="Arial"/>
                <a:cs typeface="Arial"/>
              </a:rPr>
              <a:t>are</a:t>
            </a:r>
            <a:r>
              <a:rPr sz="3200" b="1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3200" b="1" spc="-5" dirty="0">
                <a:solidFill>
                  <a:srgbClr val="00070E"/>
                </a:solidFill>
                <a:latin typeface="Arial"/>
                <a:cs typeface="Arial"/>
              </a:rPr>
              <a:t>our</a:t>
            </a:r>
            <a:r>
              <a:rPr sz="3200" b="1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3200" b="1" spc="-5" dirty="0">
                <a:solidFill>
                  <a:srgbClr val="00070E"/>
                </a:solidFill>
                <a:latin typeface="Arial"/>
                <a:cs typeface="Arial"/>
              </a:rPr>
              <a:t>partner</a:t>
            </a:r>
            <a:r>
              <a:rPr sz="3200" b="1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3200" b="1" spc="-5" dirty="0">
                <a:solidFill>
                  <a:srgbClr val="00070E"/>
                </a:solidFill>
                <a:latin typeface="Arial"/>
                <a:cs typeface="Arial"/>
              </a:rPr>
              <a:t>in</a:t>
            </a:r>
            <a:r>
              <a:rPr sz="3200" b="1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3200" b="1" spc="-5" dirty="0">
                <a:solidFill>
                  <a:srgbClr val="00070E"/>
                </a:solidFill>
                <a:latin typeface="Arial"/>
                <a:cs typeface="Arial"/>
              </a:rPr>
              <a:t>caring</a:t>
            </a:r>
            <a:r>
              <a:rPr sz="3200" b="1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3200" b="1" dirty="0">
                <a:solidFill>
                  <a:srgbClr val="00070E"/>
                </a:solidFill>
                <a:latin typeface="Arial"/>
                <a:cs typeface="Arial"/>
              </a:rPr>
              <a:t>for</a:t>
            </a:r>
            <a:r>
              <a:rPr sz="3200" b="1" spc="-5" dirty="0">
                <a:solidFill>
                  <a:srgbClr val="00070E"/>
                </a:solidFill>
                <a:latin typeface="Arial"/>
                <a:cs typeface="Arial"/>
              </a:rPr>
              <a:t> our</a:t>
            </a:r>
            <a:r>
              <a:rPr sz="3200" b="1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3200" b="1" spc="-5" dirty="0">
                <a:solidFill>
                  <a:srgbClr val="00070E"/>
                </a:solidFill>
                <a:latin typeface="Arial"/>
                <a:cs typeface="Arial"/>
              </a:rPr>
              <a:t>members!</a:t>
            </a:r>
            <a:endParaRPr sz="3200">
              <a:latin typeface="Arial"/>
              <a:cs typeface="Arial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12</a:t>
            </a:fld>
            <a:endParaRPr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8A5524-68E9-44B6-B355-3D577301A8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90600" y="1277158"/>
            <a:ext cx="10287000" cy="780242"/>
          </a:xfrm>
          <a:solidFill>
            <a:schemeClr val="accent5">
              <a:alpha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lIns="0" tIns="0" rIns="0" bIns="0" rtlCol="0" anchor="t">
            <a:noAutofit/>
          </a:bodyPr>
          <a:lstStyle/>
          <a:p>
            <a:pPr lvl="0">
              <a:spcBef>
                <a:spcPts val="1200"/>
              </a:spcBef>
            </a:pPr>
            <a:r>
              <a:rPr lang="en-US" sz="2400" b="1" dirty="0">
                <a:latin typeface="Arial"/>
                <a:cs typeface="Arial"/>
              </a:rPr>
              <a:t>Before proceeding to the next slide, please click here: </a:t>
            </a:r>
            <a:r>
              <a:rPr lang="en-US" sz="2400" b="1" u="sng" dirty="0">
                <a:solidFill>
                  <a:srgbClr val="0562C1"/>
                </a:solidFill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ttestation Link</a:t>
            </a:r>
            <a:r>
              <a:rPr lang="en-US" sz="2400" b="1" dirty="0">
                <a:latin typeface="Arial"/>
                <a:cs typeface="Arial"/>
              </a:rPr>
              <a:t> to attest that you have completed the </a:t>
            </a:r>
            <a:r>
              <a:rPr lang="en-US" sz="2400" b="1" i="1" dirty="0">
                <a:latin typeface="Arial"/>
                <a:cs typeface="Arial"/>
              </a:rPr>
              <a:t>Annual</a:t>
            </a:r>
            <a:r>
              <a:rPr lang="en-US" sz="2400" b="1" dirty="0">
                <a:latin typeface="Arial"/>
                <a:cs typeface="Arial"/>
              </a:rPr>
              <a:t> Model of Care training.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endParaRPr lang="en-US" sz="2000" b="1" dirty="0">
              <a:solidFill>
                <a:srgbClr val="00070E"/>
              </a:solidFill>
              <a:latin typeface="Arial"/>
              <a:cs typeface="Arial"/>
            </a:endParaRPr>
          </a:p>
          <a:p>
            <a:pPr>
              <a:spcBef>
                <a:spcPts val="0"/>
              </a:spcBef>
              <a:spcAft>
                <a:spcPts val="400"/>
              </a:spcAft>
            </a:pPr>
            <a:endParaRPr lang="en-US" sz="800" b="1" dirty="0"/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2400" b="1" dirty="0"/>
              <a:t>Attestations for Group Practices/Organiz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4C7DE9-83DB-1736-6C48-5CAA0650A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7C3A33-8797-B644-A994-F09AF5F5037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80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80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BBF13C-7404-F4E6-74F0-A4EEE4A9ACE1}"/>
              </a:ext>
            </a:extLst>
          </p:cNvPr>
          <p:cNvSpPr txBox="1"/>
          <p:nvPr/>
        </p:nvSpPr>
        <p:spPr>
          <a:xfrm>
            <a:off x="381000" y="457200"/>
            <a:ext cx="40350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ATTESTATION LINK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90512F-4DD6-B370-DA83-E9B6935276EC}"/>
              </a:ext>
            </a:extLst>
          </p:cNvPr>
          <p:cNvSpPr txBox="1"/>
          <p:nvPr/>
        </p:nvSpPr>
        <p:spPr>
          <a:xfrm>
            <a:off x="990600" y="3048000"/>
            <a:ext cx="10287000" cy="151631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200" i="0" u="none" strike="noStrike" kern="1200" cap="none" spc="0" normalizeH="0" baseline="0" noProof="0" dirty="0">
                <a:ln>
                  <a:noFill/>
                </a:ln>
                <a:solidFill>
                  <a:srgbClr val="00080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f you are attesting on behalf of your group/organization, in doing so, you agree to communicate the information to other providers in your group/organization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200" i="0" u="none" strike="noStrike" kern="1200" cap="none" spc="0" normalizeH="0" baseline="0" noProof="0" dirty="0">
                <a:ln>
                  <a:noFill/>
                </a:ln>
                <a:solidFill>
                  <a:srgbClr val="00080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user’s attestation will be automatically sent to MetroPlusHealth for acknowledgement of training.  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AE261B-BD31-B59F-8782-951D124C38E3}"/>
              </a:ext>
            </a:extLst>
          </p:cNvPr>
          <p:cNvSpPr txBox="1"/>
          <p:nvPr/>
        </p:nvSpPr>
        <p:spPr>
          <a:xfrm>
            <a:off x="990600" y="5184101"/>
            <a:ext cx="37369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Thank you for your cooperation!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88024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3" name="object 3"/>
            <p:cNvSpPr/>
            <p:nvPr/>
          </p:nvSpPr>
          <p:spPr>
            <a:xfrm>
              <a:off x="0" y="0"/>
              <a:ext cx="12192000" cy="6762115"/>
            </a:xfrm>
            <a:custGeom>
              <a:avLst/>
              <a:gdLst/>
              <a:ahLst/>
              <a:cxnLst/>
              <a:rect l="l" t="t" r="r" b="b"/>
              <a:pathLst>
                <a:path w="12192000" h="6762115">
                  <a:moveTo>
                    <a:pt x="12192000" y="0"/>
                  </a:moveTo>
                  <a:lnTo>
                    <a:pt x="0" y="0"/>
                  </a:lnTo>
                  <a:lnTo>
                    <a:pt x="0" y="6761988"/>
                  </a:lnTo>
                  <a:lnTo>
                    <a:pt x="12192000" y="6761988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FFCF3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6" y="0"/>
              <a:ext cx="6556375" cy="6858000"/>
            </a:xfrm>
            <a:custGeom>
              <a:avLst/>
              <a:gdLst/>
              <a:ahLst/>
              <a:cxnLst/>
              <a:rect l="l" t="t" r="r" b="b"/>
              <a:pathLst>
                <a:path w="6556375" h="6858000">
                  <a:moveTo>
                    <a:pt x="6556235" y="0"/>
                  </a:moveTo>
                  <a:lnTo>
                    <a:pt x="4660633" y="0"/>
                  </a:lnTo>
                  <a:lnTo>
                    <a:pt x="1038504" y="5002098"/>
                  </a:lnTo>
                  <a:lnTo>
                    <a:pt x="0" y="3549713"/>
                  </a:lnTo>
                  <a:lnTo>
                    <a:pt x="0" y="6207785"/>
                  </a:lnTo>
                  <a:lnTo>
                    <a:pt x="460032" y="6858000"/>
                  </a:lnTo>
                  <a:lnTo>
                    <a:pt x="1661464" y="6849160"/>
                  </a:lnTo>
                  <a:lnTo>
                    <a:pt x="655623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6080759"/>
              <a:ext cx="3404615" cy="777239"/>
            </a:xfrm>
            <a:prstGeom prst="rect">
              <a:avLst/>
            </a:prstGeom>
          </p:spPr>
        </p:pic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5394712" y="2782075"/>
            <a:ext cx="5403215" cy="2768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6000" u="none" spc="-10" dirty="0"/>
              <a:t>Social </a:t>
            </a:r>
            <a:r>
              <a:rPr sz="6000" u="none" spc="-5" dirty="0"/>
              <a:t> Determinants</a:t>
            </a:r>
            <a:r>
              <a:rPr sz="6000" u="none" spc="-80" dirty="0"/>
              <a:t> </a:t>
            </a:r>
            <a:r>
              <a:rPr sz="6000" u="none" spc="-5" dirty="0"/>
              <a:t>of </a:t>
            </a:r>
            <a:r>
              <a:rPr sz="6000" u="none" spc="-1650" dirty="0"/>
              <a:t> </a:t>
            </a:r>
            <a:r>
              <a:rPr sz="6000" u="none" spc="-5" dirty="0"/>
              <a:t>Health</a:t>
            </a:r>
            <a:r>
              <a:rPr sz="6000" u="none" spc="-35" dirty="0"/>
              <a:t> </a:t>
            </a:r>
            <a:r>
              <a:rPr sz="6000" u="none" spc="-5" dirty="0"/>
              <a:t>(SDoH)</a:t>
            </a:r>
            <a:endParaRPr sz="6000"/>
          </a:p>
        </p:txBody>
      </p:sp>
      <p:sp>
        <p:nvSpPr>
          <p:cNvPr id="7" name="object 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14</a:t>
            </a:fld>
            <a:endParaRPr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05"/>
              </a:spcBef>
              <a:tabLst>
                <a:tab pos="11365865" algn="l"/>
              </a:tabLst>
            </a:pPr>
            <a:r>
              <a:rPr dirty="0"/>
              <a:t>SOCIAL</a:t>
            </a:r>
            <a:r>
              <a:rPr spc="-165" dirty="0"/>
              <a:t> </a:t>
            </a:r>
            <a:r>
              <a:rPr dirty="0"/>
              <a:t>DETERMINANTS</a:t>
            </a:r>
            <a:r>
              <a:rPr spc="-55" dirty="0"/>
              <a:t> </a:t>
            </a:r>
            <a:r>
              <a:rPr dirty="0"/>
              <a:t>OF</a:t>
            </a:r>
            <a:r>
              <a:rPr spc="-40" dirty="0"/>
              <a:t> HEALTH	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33613" y="1198876"/>
            <a:ext cx="7145020" cy="469138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Social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determinants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of health (SDoH) are the conditions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in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 </a:t>
            </a:r>
            <a:r>
              <a:rPr sz="20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environments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where people are born,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live,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learn, work, 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play, 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worship,</a:t>
            </a:r>
            <a:r>
              <a:rPr sz="2000" spc="-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ge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at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affect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wide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range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health,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functioning, </a:t>
            </a:r>
            <a:r>
              <a:rPr sz="2000" spc="-5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quality-of-life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outcomes</a:t>
            </a:r>
            <a:r>
              <a:rPr sz="2000" spc="-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risks.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For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example:</a:t>
            </a:r>
            <a:endParaRPr sz="20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305"/>
              </a:spcBef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Safe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housing</a:t>
            </a:r>
            <a:r>
              <a:rPr sz="1800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reliable</a:t>
            </a:r>
            <a:r>
              <a:rPr sz="1800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transportation</a:t>
            </a:r>
            <a:endParaRPr sz="18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300"/>
              </a:spcBef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Exposure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 racism,</a:t>
            </a:r>
            <a:r>
              <a:rPr sz="18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discrimination,</a:t>
            </a:r>
            <a:r>
              <a:rPr sz="1800" spc="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and violence</a:t>
            </a:r>
            <a:endParaRPr sz="18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300"/>
              </a:spcBef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Access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 to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quality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education,</a:t>
            </a:r>
            <a:r>
              <a:rPr sz="18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job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opportunities,</a:t>
            </a:r>
            <a:r>
              <a:rPr sz="18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income</a:t>
            </a:r>
            <a:endParaRPr sz="18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300"/>
              </a:spcBef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Access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 to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 nutritious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foods</a:t>
            </a:r>
            <a:r>
              <a:rPr sz="18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18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physical</a:t>
            </a:r>
            <a:r>
              <a:rPr sz="1800" spc="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activity</a:t>
            </a:r>
            <a:r>
              <a:rPr sz="18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opportunities</a:t>
            </a:r>
            <a:endParaRPr sz="18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305"/>
              </a:spcBef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Exposure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 polluted</a:t>
            </a:r>
            <a:r>
              <a:rPr sz="18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air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and </a:t>
            </a:r>
            <a:r>
              <a:rPr sz="1800" spc="-15" dirty="0">
                <a:solidFill>
                  <a:srgbClr val="00070E"/>
                </a:solidFill>
                <a:latin typeface="Arial"/>
                <a:cs typeface="Arial"/>
              </a:rPr>
              <a:t>water</a:t>
            </a:r>
            <a:endParaRPr sz="18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300"/>
              </a:spcBef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Language</a:t>
            </a:r>
            <a:r>
              <a:rPr sz="18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literacy</a:t>
            </a:r>
            <a:r>
              <a:rPr sz="18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skills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590"/>
              </a:spcBef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troPlusHealth</a:t>
            </a:r>
            <a:r>
              <a:rPr sz="2000" spc="-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has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programs</a:t>
            </a:r>
            <a:r>
              <a:rPr sz="2000" spc="-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ddress</a:t>
            </a:r>
            <a:r>
              <a:rPr sz="2000" spc="-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SDoH:</a:t>
            </a:r>
            <a:endParaRPr sz="20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305"/>
              </a:spcBef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Housing,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food,</a:t>
            </a:r>
            <a:r>
              <a:rPr sz="18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transportation</a:t>
            </a:r>
            <a:endParaRPr sz="1800">
              <a:latin typeface="Arial"/>
              <a:cs typeface="Arial"/>
            </a:endParaRPr>
          </a:p>
          <a:p>
            <a:pPr marL="355600" marR="93345" indent="-342900">
              <a:lnSpc>
                <a:spcPct val="100000"/>
              </a:lnSpc>
              <a:spcBef>
                <a:spcPts val="300"/>
              </a:spcBef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Staff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can</a:t>
            </a:r>
            <a:r>
              <a:rPr sz="18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link</a:t>
            </a:r>
            <a:r>
              <a:rPr sz="18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members</a:t>
            </a:r>
            <a:r>
              <a:rPr sz="18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to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community-based</a:t>
            </a:r>
            <a:r>
              <a:rPr sz="1800" spc="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organizations</a:t>
            </a:r>
            <a:r>
              <a:rPr sz="1800" spc="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(CBOs) </a:t>
            </a:r>
            <a:r>
              <a:rPr sz="1800" spc="-484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18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services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through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FindHelp</a:t>
            </a: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05"/>
              </a:spcBef>
            </a:pPr>
            <a:r>
              <a:rPr sz="1400" spc="-5" dirty="0">
                <a:solidFill>
                  <a:srgbClr val="00070E"/>
                </a:solidFill>
                <a:latin typeface="Arial"/>
                <a:cs typeface="Arial"/>
              </a:rPr>
              <a:t>Source:</a:t>
            </a:r>
            <a:r>
              <a:rPr sz="14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400" b="1" u="heavy" spc="-10" dirty="0">
                <a:solidFill>
                  <a:srgbClr val="9C6025"/>
                </a:solidFill>
                <a:uFill>
                  <a:solidFill>
                    <a:srgbClr val="9C6025"/>
                  </a:solidFill>
                </a:uFill>
                <a:latin typeface="Arial"/>
                <a:cs typeface="Arial"/>
                <a:hlinkClick r:id="rId2"/>
              </a:rPr>
              <a:t>https://health.gov/healthypeople/priority-areas/social-determinants-health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898892" y="1504188"/>
            <a:ext cx="4034622" cy="3967483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15</a:t>
            </a:fld>
            <a:endParaRPr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87581" y="3960326"/>
            <a:ext cx="213106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00070E"/>
                </a:solidFill>
                <a:latin typeface="Arial"/>
                <a:cs typeface="Arial"/>
              </a:rPr>
              <a:t>Food</a:t>
            </a:r>
            <a:r>
              <a:rPr sz="1600" b="1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00070E"/>
                </a:solidFill>
                <a:latin typeface="Arial"/>
                <a:cs typeface="Arial"/>
              </a:rPr>
              <a:t>insecurity</a:t>
            </a:r>
            <a:r>
              <a:rPr sz="1600" b="1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600" b="1" spc="-15" dirty="0">
                <a:solidFill>
                  <a:srgbClr val="00070E"/>
                </a:solidFill>
                <a:latin typeface="Arial"/>
                <a:cs typeface="Arial"/>
              </a:rPr>
              <a:t>(22%)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785307" y="3956880"/>
            <a:ext cx="264033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00070E"/>
                </a:solidFill>
                <a:latin typeface="Arial"/>
                <a:cs typeface="Arial"/>
              </a:rPr>
              <a:t>Poor</a:t>
            </a:r>
            <a:r>
              <a:rPr sz="1600" b="1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070E"/>
                </a:solidFill>
                <a:latin typeface="Arial"/>
                <a:cs typeface="Arial"/>
              </a:rPr>
              <a:t>housing</a:t>
            </a:r>
            <a:r>
              <a:rPr sz="16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00070E"/>
                </a:solidFill>
                <a:latin typeface="Arial"/>
                <a:cs typeface="Arial"/>
              </a:rPr>
              <a:t>quality</a:t>
            </a:r>
            <a:r>
              <a:rPr sz="1600" b="1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600" b="1" spc="-15" dirty="0">
                <a:solidFill>
                  <a:srgbClr val="00070E"/>
                </a:solidFill>
                <a:latin typeface="Arial"/>
                <a:cs typeface="Arial"/>
              </a:rPr>
              <a:t>(10%)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879280" y="3956880"/>
            <a:ext cx="192849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15" dirty="0">
                <a:solidFill>
                  <a:srgbClr val="00070E"/>
                </a:solidFill>
                <a:latin typeface="Arial"/>
                <a:cs typeface="Arial"/>
              </a:rPr>
              <a:t>Transportation</a:t>
            </a:r>
            <a:r>
              <a:rPr sz="1600" b="1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600" b="1" spc="-15" dirty="0">
                <a:solidFill>
                  <a:srgbClr val="00070E"/>
                </a:solidFill>
                <a:latin typeface="Arial"/>
                <a:cs typeface="Arial"/>
              </a:rPr>
              <a:t>(8%)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8911590" y="1937766"/>
            <a:ext cx="1865630" cy="1866900"/>
          </a:xfrm>
          <a:custGeom>
            <a:avLst/>
            <a:gdLst/>
            <a:ahLst/>
            <a:cxnLst/>
            <a:rect l="l" t="t" r="r" b="b"/>
            <a:pathLst>
              <a:path w="1865629" h="1866900">
                <a:moveTo>
                  <a:pt x="0" y="933450"/>
                </a:moveTo>
                <a:lnTo>
                  <a:pt x="1213" y="885414"/>
                </a:lnTo>
                <a:lnTo>
                  <a:pt x="4815" y="838010"/>
                </a:lnTo>
                <a:lnTo>
                  <a:pt x="10746" y="791294"/>
                </a:lnTo>
                <a:lnTo>
                  <a:pt x="18948" y="745327"/>
                </a:lnTo>
                <a:lnTo>
                  <a:pt x="29363" y="700166"/>
                </a:lnTo>
                <a:lnTo>
                  <a:pt x="41931" y="655870"/>
                </a:lnTo>
                <a:lnTo>
                  <a:pt x="56594" y="612498"/>
                </a:lnTo>
                <a:lnTo>
                  <a:pt x="73294" y="570108"/>
                </a:lnTo>
                <a:lnTo>
                  <a:pt x="91972" y="528760"/>
                </a:lnTo>
                <a:lnTo>
                  <a:pt x="112569" y="488511"/>
                </a:lnTo>
                <a:lnTo>
                  <a:pt x="135027" y="449421"/>
                </a:lnTo>
                <a:lnTo>
                  <a:pt x="159287" y="411548"/>
                </a:lnTo>
                <a:lnTo>
                  <a:pt x="185291" y="374951"/>
                </a:lnTo>
                <a:lnTo>
                  <a:pt x="212979" y="339688"/>
                </a:lnTo>
                <a:lnTo>
                  <a:pt x="242294" y="305818"/>
                </a:lnTo>
                <a:lnTo>
                  <a:pt x="273177" y="273400"/>
                </a:lnTo>
                <a:lnTo>
                  <a:pt x="305568" y="242493"/>
                </a:lnTo>
                <a:lnTo>
                  <a:pt x="339410" y="213154"/>
                </a:lnTo>
                <a:lnTo>
                  <a:pt x="374644" y="185443"/>
                </a:lnTo>
                <a:lnTo>
                  <a:pt x="411212" y="159418"/>
                </a:lnTo>
                <a:lnTo>
                  <a:pt x="449054" y="135138"/>
                </a:lnTo>
                <a:lnTo>
                  <a:pt x="488112" y="112662"/>
                </a:lnTo>
                <a:lnTo>
                  <a:pt x="528328" y="92048"/>
                </a:lnTo>
                <a:lnTo>
                  <a:pt x="569642" y="73355"/>
                </a:lnTo>
                <a:lnTo>
                  <a:pt x="611997" y="56641"/>
                </a:lnTo>
                <a:lnTo>
                  <a:pt x="655334" y="41965"/>
                </a:lnTo>
                <a:lnTo>
                  <a:pt x="699593" y="29387"/>
                </a:lnTo>
                <a:lnTo>
                  <a:pt x="744718" y="18964"/>
                </a:lnTo>
                <a:lnTo>
                  <a:pt x="790648" y="10755"/>
                </a:lnTo>
                <a:lnTo>
                  <a:pt x="837325" y="4819"/>
                </a:lnTo>
                <a:lnTo>
                  <a:pt x="884691" y="1214"/>
                </a:lnTo>
                <a:lnTo>
                  <a:pt x="932688" y="0"/>
                </a:lnTo>
                <a:lnTo>
                  <a:pt x="980684" y="1214"/>
                </a:lnTo>
                <a:lnTo>
                  <a:pt x="1028050" y="4819"/>
                </a:lnTo>
                <a:lnTo>
                  <a:pt x="1074727" y="10755"/>
                </a:lnTo>
                <a:lnTo>
                  <a:pt x="1120657" y="18964"/>
                </a:lnTo>
                <a:lnTo>
                  <a:pt x="1165782" y="29387"/>
                </a:lnTo>
                <a:lnTo>
                  <a:pt x="1210041" y="41965"/>
                </a:lnTo>
                <a:lnTo>
                  <a:pt x="1253378" y="56641"/>
                </a:lnTo>
                <a:lnTo>
                  <a:pt x="1295733" y="73355"/>
                </a:lnTo>
                <a:lnTo>
                  <a:pt x="1337047" y="92048"/>
                </a:lnTo>
                <a:lnTo>
                  <a:pt x="1377263" y="112662"/>
                </a:lnTo>
                <a:lnTo>
                  <a:pt x="1416321" y="135138"/>
                </a:lnTo>
                <a:lnTo>
                  <a:pt x="1454163" y="159418"/>
                </a:lnTo>
                <a:lnTo>
                  <a:pt x="1490731" y="185443"/>
                </a:lnTo>
                <a:lnTo>
                  <a:pt x="1525965" y="213154"/>
                </a:lnTo>
                <a:lnTo>
                  <a:pt x="1559807" y="242493"/>
                </a:lnTo>
                <a:lnTo>
                  <a:pt x="1592198" y="273400"/>
                </a:lnTo>
                <a:lnTo>
                  <a:pt x="1623081" y="305818"/>
                </a:lnTo>
                <a:lnTo>
                  <a:pt x="1652396" y="339688"/>
                </a:lnTo>
                <a:lnTo>
                  <a:pt x="1680084" y="374951"/>
                </a:lnTo>
                <a:lnTo>
                  <a:pt x="1706088" y="411548"/>
                </a:lnTo>
                <a:lnTo>
                  <a:pt x="1730348" y="449421"/>
                </a:lnTo>
                <a:lnTo>
                  <a:pt x="1752806" y="488511"/>
                </a:lnTo>
                <a:lnTo>
                  <a:pt x="1773403" y="528760"/>
                </a:lnTo>
                <a:lnTo>
                  <a:pt x="1792081" y="570108"/>
                </a:lnTo>
                <a:lnTo>
                  <a:pt x="1808781" y="612498"/>
                </a:lnTo>
                <a:lnTo>
                  <a:pt x="1823444" y="655870"/>
                </a:lnTo>
                <a:lnTo>
                  <a:pt x="1836012" y="700166"/>
                </a:lnTo>
                <a:lnTo>
                  <a:pt x="1846427" y="745327"/>
                </a:lnTo>
                <a:lnTo>
                  <a:pt x="1854629" y="791294"/>
                </a:lnTo>
                <a:lnTo>
                  <a:pt x="1860560" y="838010"/>
                </a:lnTo>
                <a:lnTo>
                  <a:pt x="1864162" y="885414"/>
                </a:lnTo>
                <a:lnTo>
                  <a:pt x="1865376" y="933450"/>
                </a:lnTo>
                <a:lnTo>
                  <a:pt x="1864162" y="981485"/>
                </a:lnTo>
                <a:lnTo>
                  <a:pt x="1860560" y="1028889"/>
                </a:lnTo>
                <a:lnTo>
                  <a:pt x="1854629" y="1075605"/>
                </a:lnTo>
                <a:lnTo>
                  <a:pt x="1846427" y="1121572"/>
                </a:lnTo>
                <a:lnTo>
                  <a:pt x="1836012" y="1166733"/>
                </a:lnTo>
                <a:lnTo>
                  <a:pt x="1823444" y="1211029"/>
                </a:lnTo>
                <a:lnTo>
                  <a:pt x="1808781" y="1254401"/>
                </a:lnTo>
                <a:lnTo>
                  <a:pt x="1792081" y="1296791"/>
                </a:lnTo>
                <a:lnTo>
                  <a:pt x="1773403" y="1338139"/>
                </a:lnTo>
                <a:lnTo>
                  <a:pt x="1752806" y="1378388"/>
                </a:lnTo>
                <a:lnTo>
                  <a:pt x="1730348" y="1417478"/>
                </a:lnTo>
                <a:lnTo>
                  <a:pt x="1706088" y="1455351"/>
                </a:lnTo>
                <a:lnTo>
                  <a:pt x="1680084" y="1491948"/>
                </a:lnTo>
                <a:lnTo>
                  <a:pt x="1652396" y="1527211"/>
                </a:lnTo>
                <a:lnTo>
                  <a:pt x="1623081" y="1561081"/>
                </a:lnTo>
                <a:lnTo>
                  <a:pt x="1592199" y="1593499"/>
                </a:lnTo>
                <a:lnTo>
                  <a:pt x="1559807" y="1624406"/>
                </a:lnTo>
                <a:lnTo>
                  <a:pt x="1525965" y="1653745"/>
                </a:lnTo>
                <a:lnTo>
                  <a:pt x="1490731" y="1681456"/>
                </a:lnTo>
                <a:lnTo>
                  <a:pt x="1454163" y="1707481"/>
                </a:lnTo>
                <a:lnTo>
                  <a:pt x="1416321" y="1731761"/>
                </a:lnTo>
                <a:lnTo>
                  <a:pt x="1377263" y="1754237"/>
                </a:lnTo>
                <a:lnTo>
                  <a:pt x="1337047" y="1774851"/>
                </a:lnTo>
                <a:lnTo>
                  <a:pt x="1295733" y="1793544"/>
                </a:lnTo>
                <a:lnTo>
                  <a:pt x="1253378" y="1810258"/>
                </a:lnTo>
                <a:lnTo>
                  <a:pt x="1210041" y="1824934"/>
                </a:lnTo>
                <a:lnTo>
                  <a:pt x="1165782" y="1837512"/>
                </a:lnTo>
                <a:lnTo>
                  <a:pt x="1120657" y="1847935"/>
                </a:lnTo>
                <a:lnTo>
                  <a:pt x="1074727" y="1856144"/>
                </a:lnTo>
                <a:lnTo>
                  <a:pt x="1028050" y="1862080"/>
                </a:lnTo>
                <a:lnTo>
                  <a:pt x="980684" y="1865685"/>
                </a:lnTo>
                <a:lnTo>
                  <a:pt x="932688" y="1866900"/>
                </a:lnTo>
                <a:lnTo>
                  <a:pt x="884691" y="1865685"/>
                </a:lnTo>
                <a:lnTo>
                  <a:pt x="837325" y="1862080"/>
                </a:lnTo>
                <a:lnTo>
                  <a:pt x="790648" y="1856144"/>
                </a:lnTo>
                <a:lnTo>
                  <a:pt x="744718" y="1847935"/>
                </a:lnTo>
                <a:lnTo>
                  <a:pt x="699593" y="1837512"/>
                </a:lnTo>
                <a:lnTo>
                  <a:pt x="655334" y="1824934"/>
                </a:lnTo>
                <a:lnTo>
                  <a:pt x="611997" y="1810258"/>
                </a:lnTo>
                <a:lnTo>
                  <a:pt x="569642" y="1793544"/>
                </a:lnTo>
                <a:lnTo>
                  <a:pt x="528328" y="1774851"/>
                </a:lnTo>
                <a:lnTo>
                  <a:pt x="488112" y="1754237"/>
                </a:lnTo>
                <a:lnTo>
                  <a:pt x="449054" y="1731761"/>
                </a:lnTo>
                <a:lnTo>
                  <a:pt x="411212" y="1707481"/>
                </a:lnTo>
                <a:lnTo>
                  <a:pt x="374644" y="1681456"/>
                </a:lnTo>
                <a:lnTo>
                  <a:pt x="339410" y="1653745"/>
                </a:lnTo>
                <a:lnTo>
                  <a:pt x="305568" y="1624406"/>
                </a:lnTo>
                <a:lnTo>
                  <a:pt x="273176" y="1593499"/>
                </a:lnTo>
                <a:lnTo>
                  <a:pt x="242294" y="1561081"/>
                </a:lnTo>
                <a:lnTo>
                  <a:pt x="212979" y="1527211"/>
                </a:lnTo>
                <a:lnTo>
                  <a:pt x="185291" y="1491948"/>
                </a:lnTo>
                <a:lnTo>
                  <a:pt x="159287" y="1455351"/>
                </a:lnTo>
                <a:lnTo>
                  <a:pt x="135027" y="1417478"/>
                </a:lnTo>
                <a:lnTo>
                  <a:pt x="112569" y="1378388"/>
                </a:lnTo>
                <a:lnTo>
                  <a:pt x="91972" y="1338139"/>
                </a:lnTo>
                <a:lnTo>
                  <a:pt x="73294" y="1296791"/>
                </a:lnTo>
                <a:lnTo>
                  <a:pt x="56594" y="1254401"/>
                </a:lnTo>
                <a:lnTo>
                  <a:pt x="41931" y="1211029"/>
                </a:lnTo>
                <a:lnTo>
                  <a:pt x="29363" y="1166733"/>
                </a:lnTo>
                <a:lnTo>
                  <a:pt x="18948" y="1121572"/>
                </a:lnTo>
                <a:lnTo>
                  <a:pt x="10746" y="1075605"/>
                </a:lnTo>
                <a:lnTo>
                  <a:pt x="4815" y="1028889"/>
                </a:lnTo>
                <a:lnTo>
                  <a:pt x="1213" y="981485"/>
                </a:lnTo>
                <a:lnTo>
                  <a:pt x="0" y="933450"/>
                </a:lnTo>
                <a:close/>
              </a:path>
            </a:pathLst>
          </a:custGeom>
          <a:ln w="19050">
            <a:solidFill>
              <a:srgbClr val="FFD02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173217" y="1937766"/>
            <a:ext cx="1865630" cy="1866900"/>
          </a:xfrm>
          <a:custGeom>
            <a:avLst/>
            <a:gdLst/>
            <a:ahLst/>
            <a:cxnLst/>
            <a:rect l="l" t="t" r="r" b="b"/>
            <a:pathLst>
              <a:path w="1865629" h="1866900">
                <a:moveTo>
                  <a:pt x="0" y="933450"/>
                </a:moveTo>
                <a:lnTo>
                  <a:pt x="1213" y="885414"/>
                </a:lnTo>
                <a:lnTo>
                  <a:pt x="4815" y="838010"/>
                </a:lnTo>
                <a:lnTo>
                  <a:pt x="10746" y="791294"/>
                </a:lnTo>
                <a:lnTo>
                  <a:pt x="18948" y="745327"/>
                </a:lnTo>
                <a:lnTo>
                  <a:pt x="29363" y="700166"/>
                </a:lnTo>
                <a:lnTo>
                  <a:pt x="41931" y="655870"/>
                </a:lnTo>
                <a:lnTo>
                  <a:pt x="56594" y="612498"/>
                </a:lnTo>
                <a:lnTo>
                  <a:pt x="73294" y="570108"/>
                </a:lnTo>
                <a:lnTo>
                  <a:pt x="91972" y="528760"/>
                </a:lnTo>
                <a:lnTo>
                  <a:pt x="112569" y="488511"/>
                </a:lnTo>
                <a:lnTo>
                  <a:pt x="135027" y="449421"/>
                </a:lnTo>
                <a:lnTo>
                  <a:pt x="159287" y="411548"/>
                </a:lnTo>
                <a:lnTo>
                  <a:pt x="185291" y="374951"/>
                </a:lnTo>
                <a:lnTo>
                  <a:pt x="212979" y="339688"/>
                </a:lnTo>
                <a:lnTo>
                  <a:pt x="242294" y="305818"/>
                </a:lnTo>
                <a:lnTo>
                  <a:pt x="273177" y="273400"/>
                </a:lnTo>
                <a:lnTo>
                  <a:pt x="305568" y="242493"/>
                </a:lnTo>
                <a:lnTo>
                  <a:pt x="339410" y="213154"/>
                </a:lnTo>
                <a:lnTo>
                  <a:pt x="374644" y="185443"/>
                </a:lnTo>
                <a:lnTo>
                  <a:pt x="411212" y="159418"/>
                </a:lnTo>
                <a:lnTo>
                  <a:pt x="449054" y="135138"/>
                </a:lnTo>
                <a:lnTo>
                  <a:pt x="488112" y="112662"/>
                </a:lnTo>
                <a:lnTo>
                  <a:pt x="528328" y="92048"/>
                </a:lnTo>
                <a:lnTo>
                  <a:pt x="569642" y="73355"/>
                </a:lnTo>
                <a:lnTo>
                  <a:pt x="611997" y="56641"/>
                </a:lnTo>
                <a:lnTo>
                  <a:pt x="655334" y="41965"/>
                </a:lnTo>
                <a:lnTo>
                  <a:pt x="699593" y="29387"/>
                </a:lnTo>
                <a:lnTo>
                  <a:pt x="744718" y="18964"/>
                </a:lnTo>
                <a:lnTo>
                  <a:pt x="790648" y="10755"/>
                </a:lnTo>
                <a:lnTo>
                  <a:pt x="837325" y="4819"/>
                </a:lnTo>
                <a:lnTo>
                  <a:pt x="884691" y="1214"/>
                </a:lnTo>
                <a:lnTo>
                  <a:pt x="932688" y="0"/>
                </a:lnTo>
                <a:lnTo>
                  <a:pt x="980684" y="1214"/>
                </a:lnTo>
                <a:lnTo>
                  <a:pt x="1028050" y="4819"/>
                </a:lnTo>
                <a:lnTo>
                  <a:pt x="1074727" y="10755"/>
                </a:lnTo>
                <a:lnTo>
                  <a:pt x="1120657" y="18964"/>
                </a:lnTo>
                <a:lnTo>
                  <a:pt x="1165782" y="29387"/>
                </a:lnTo>
                <a:lnTo>
                  <a:pt x="1210041" y="41965"/>
                </a:lnTo>
                <a:lnTo>
                  <a:pt x="1253378" y="56641"/>
                </a:lnTo>
                <a:lnTo>
                  <a:pt x="1295733" y="73355"/>
                </a:lnTo>
                <a:lnTo>
                  <a:pt x="1337047" y="92048"/>
                </a:lnTo>
                <a:lnTo>
                  <a:pt x="1377263" y="112662"/>
                </a:lnTo>
                <a:lnTo>
                  <a:pt x="1416321" y="135138"/>
                </a:lnTo>
                <a:lnTo>
                  <a:pt x="1454163" y="159418"/>
                </a:lnTo>
                <a:lnTo>
                  <a:pt x="1490731" y="185443"/>
                </a:lnTo>
                <a:lnTo>
                  <a:pt x="1525965" y="213154"/>
                </a:lnTo>
                <a:lnTo>
                  <a:pt x="1559807" y="242493"/>
                </a:lnTo>
                <a:lnTo>
                  <a:pt x="1592198" y="273400"/>
                </a:lnTo>
                <a:lnTo>
                  <a:pt x="1623081" y="305818"/>
                </a:lnTo>
                <a:lnTo>
                  <a:pt x="1652396" y="339688"/>
                </a:lnTo>
                <a:lnTo>
                  <a:pt x="1680084" y="374951"/>
                </a:lnTo>
                <a:lnTo>
                  <a:pt x="1706088" y="411548"/>
                </a:lnTo>
                <a:lnTo>
                  <a:pt x="1730348" y="449421"/>
                </a:lnTo>
                <a:lnTo>
                  <a:pt x="1752806" y="488511"/>
                </a:lnTo>
                <a:lnTo>
                  <a:pt x="1773403" y="528760"/>
                </a:lnTo>
                <a:lnTo>
                  <a:pt x="1792081" y="570108"/>
                </a:lnTo>
                <a:lnTo>
                  <a:pt x="1808781" y="612498"/>
                </a:lnTo>
                <a:lnTo>
                  <a:pt x="1823444" y="655870"/>
                </a:lnTo>
                <a:lnTo>
                  <a:pt x="1836012" y="700166"/>
                </a:lnTo>
                <a:lnTo>
                  <a:pt x="1846427" y="745327"/>
                </a:lnTo>
                <a:lnTo>
                  <a:pt x="1854629" y="791294"/>
                </a:lnTo>
                <a:lnTo>
                  <a:pt x="1860560" y="838010"/>
                </a:lnTo>
                <a:lnTo>
                  <a:pt x="1864162" y="885414"/>
                </a:lnTo>
                <a:lnTo>
                  <a:pt x="1865376" y="933450"/>
                </a:lnTo>
                <a:lnTo>
                  <a:pt x="1864162" y="981485"/>
                </a:lnTo>
                <a:lnTo>
                  <a:pt x="1860560" y="1028889"/>
                </a:lnTo>
                <a:lnTo>
                  <a:pt x="1854629" y="1075605"/>
                </a:lnTo>
                <a:lnTo>
                  <a:pt x="1846427" y="1121572"/>
                </a:lnTo>
                <a:lnTo>
                  <a:pt x="1836012" y="1166733"/>
                </a:lnTo>
                <a:lnTo>
                  <a:pt x="1823444" y="1211029"/>
                </a:lnTo>
                <a:lnTo>
                  <a:pt x="1808781" y="1254401"/>
                </a:lnTo>
                <a:lnTo>
                  <a:pt x="1792081" y="1296791"/>
                </a:lnTo>
                <a:lnTo>
                  <a:pt x="1773403" y="1338139"/>
                </a:lnTo>
                <a:lnTo>
                  <a:pt x="1752806" y="1378388"/>
                </a:lnTo>
                <a:lnTo>
                  <a:pt x="1730348" y="1417478"/>
                </a:lnTo>
                <a:lnTo>
                  <a:pt x="1706088" y="1455351"/>
                </a:lnTo>
                <a:lnTo>
                  <a:pt x="1680084" y="1491948"/>
                </a:lnTo>
                <a:lnTo>
                  <a:pt x="1652396" y="1527211"/>
                </a:lnTo>
                <a:lnTo>
                  <a:pt x="1623081" y="1561081"/>
                </a:lnTo>
                <a:lnTo>
                  <a:pt x="1592199" y="1593499"/>
                </a:lnTo>
                <a:lnTo>
                  <a:pt x="1559807" y="1624406"/>
                </a:lnTo>
                <a:lnTo>
                  <a:pt x="1525965" y="1653745"/>
                </a:lnTo>
                <a:lnTo>
                  <a:pt x="1490731" y="1681456"/>
                </a:lnTo>
                <a:lnTo>
                  <a:pt x="1454163" y="1707481"/>
                </a:lnTo>
                <a:lnTo>
                  <a:pt x="1416321" y="1731761"/>
                </a:lnTo>
                <a:lnTo>
                  <a:pt x="1377263" y="1754237"/>
                </a:lnTo>
                <a:lnTo>
                  <a:pt x="1337047" y="1774851"/>
                </a:lnTo>
                <a:lnTo>
                  <a:pt x="1295733" y="1793544"/>
                </a:lnTo>
                <a:lnTo>
                  <a:pt x="1253378" y="1810258"/>
                </a:lnTo>
                <a:lnTo>
                  <a:pt x="1210041" y="1824934"/>
                </a:lnTo>
                <a:lnTo>
                  <a:pt x="1165782" y="1837512"/>
                </a:lnTo>
                <a:lnTo>
                  <a:pt x="1120657" y="1847935"/>
                </a:lnTo>
                <a:lnTo>
                  <a:pt x="1074727" y="1856144"/>
                </a:lnTo>
                <a:lnTo>
                  <a:pt x="1028050" y="1862080"/>
                </a:lnTo>
                <a:lnTo>
                  <a:pt x="980684" y="1865685"/>
                </a:lnTo>
                <a:lnTo>
                  <a:pt x="932688" y="1866900"/>
                </a:lnTo>
                <a:lnTo>
                  <a:pt x="884691" y="1865685"/>
                </a:lnTo>
                <a:lnTo>
                  <a:pt x="837325" y="1862080"/>
                </a:lnTo>
                <a:lnTo>
                  <a:pt x="790648" y="1856144"/>
                </a:lnTo>
                <a:lnTo>
                  <a:pt x="744718" y="1847935"/>
                </a:lnTo>
                <a:lnTo>
                  <a:pt x="699593" y="1837512"/>
                </a:lnTo>
                <a:lnTo>
                  <a:pt x="655334" y="1824934"/>
                </a:lnTo>
                <a:lnTo>
                  <a:pt x="611997" y="1810258"/>
                </a:lnTo>
                <a:lnTo>
                  <a:pt x="569642" y="1793544"/>
                </a:lnTo>
                <a:lnTo>
                  <a:pt x="528328" y="1774851"/>
                </a:lnTo>
                <a:lnTo>
                  <a:pt x="488112" y="1754237"/>
                </a:lnTo>
                <a:lnTo>
                  <a:pt x="449054" y="1731761"/>
                </a:lnTo>
                <a:lnTo>
                  <a:pt x="411212" y="1707481"/>
                </a:lnTo>
                <a:lnTo>
                  <a:pt x="374644" y="1681456"/>
                </a:lnTo>
                <a:lnTo>
                  <a:pt x="339410" y="1653745"/>
                </a:lnTo>
                <a:lnTo>
                  <a:pt x="305568" y="1624406"/>
                </a:lnTo>
                <a:lnTo>
                  <a:pt x="273176" y="1593499"/>
                </a:lnTo>
                <a:lnTo>
                  <a:pt x="242294" y="1561081"/>
                </a:lnTo>
                <a:lnTo>
                  <a:pt x="212979" y="1527211"/>
                </a:lnTo>
                <a:lnTo>
                  <a:pt x="185291" y="1491948"/>
                </a:lnTo>
                <a:lnTo>
                  <a:pt x="159287" y="1455351"/>
                </a:lnTo>
                <a:lnTo>
                  <a:pt x="135027" y="1417478"/>
                </a:lnTo>
                <a:lnTo>
                  <a:pt x="112569" y="1378388"/>
                </a:lnTo>
                <a:lnTo>
                  <a:pt x="91972" y="1338139"/>
                </a:lnTo>
                <a:lnTo>
                  <a:pt x="73294" y="1296791"/>
                </a:lnTo>
                <a:lnTo>
                  <a:pt x="56594" y="1254401"/>
                </a:lnTo>
                <a:lnTo>
                  <a:pt x="41931" y="1211029"/>
                </a:lnTo>
                <a:lnTo>
                  <a:pt x="29363" y="1166733"/>
                </a:lnTo>
                <a:lnTo>
                  <a:pt x="18948" y="1121572"/>
                </a:lnTo>
                <a:lnTo>
                  <a:pt x="10746" y="1075605"/>
                </a:lnTo>
                <a:lnTo>
                  <a:pt x="4815" y="1028889"/>
                </a:lnTo>
                <a:lnTo>
                  <a:pt x="1213" y="981485"/>
                </a:lnTo>
                <a:lnTo>
                  <a:pt x="0" y="933450"/>
                </a:lnTo>
                <a:close/>
              </a:path>
            </a:pathLst>
          </a:custGeom>
          <a:ln w="19050">
            <a:solidFill>
              <a:srgbClr val="FFD02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520189" y="1937766"/>
            <a:ext cx="1865630" cy="1866900"/>
          </a:xfrm>
          <a:custGeom>
            <a:avLst/>
            <a:gdLst/>
            <a:ahLst/>
            <a:cxnLst/>
            <a:rect l="l" t="t" r="r" b="b"/>
            <a:pathLst>
              <a:path w="1865629" h="1866900">
                <a:moveTo>
                  <a:pt x="0" y="933450"/>
                </a:moveTo>
                <a:lnTo>
                  <a:pt x="1213" y="885414"/>
                </a:lnTo>
                <a:lnTo>
                  <a:pt x="4815" y="838010"/>
                </a:lnTo>
                <a:lnTo>
                  <a:pt x="10746" y="791294"/>
                </a:lnTo>
                <a:lnTo>
                  <a:pt x="18948" y="745327"/>
                </a:lnTo>
                <a:lnTo>
                  <a:pt x="29363" y="700166"/>
                </a:lnTo>
                <a:lnTo>
                  <a:pt x="41931" y="655870"/>
                </a:lnTo>
                <a:lnTo>
                  <a:pt x="56594" y="612498"/>
                </a:lnTo>
                <a:lnTo>
                  <a:pt x="73294" y="570108"/>
                </a:lnTo>
                <a:lnTo>
                  <a:pt x="91972" y="528760"/>
                </a:lnTo>
                <a:lnTo>
                  <a:pt x="112569" y="488511"/>
                </a:lnTo>
                <a:lnTo>
                  <a:pt x="135027" y="449421"/>
                </a:lnTo>
                <a:lnTo>
                  <a:pt x="159287" y="411548"/>
                </a:lnTo>
                <a:lnTo>
                  <a:pt x="185291" y="374951"/>
                </a:lnTo>
                <a:lnTo>
                  <a:pt x="212979" y="339688"/>
                </a:lnTo>
                <a:lnTo>
                  <a:pt x="242294" y="305818"/>
                </a:lnTo>
                <a:lnTo>
                  <a:pt x="273177" y="273400"/>
                </a:lnTo>
                <a:lnTo>
                  <a:pt x="305568" y="242493"/>
                </a:lnTo>
                <a:lnTo>
                  <a:pt x="339410" y="213154"/>
                </a:lnTo>
                <a:lnTo>
                  <a:pt x="374644" y="185443"/>
                </a:lnTo>
                <a:lnTo>
                  <a:pt x="411212" y="159418"/>
                </a:lnTo>
                <a:lnTo>
                  <a:pt x="449054" y="135138"/>
                </a:lnTo>
                <a:lnTo>
                  <a:pt x="488112" y="112662"/>
                </a:lnTo>
                <a:lnTo>
                  <a:pt x="528328" y="92048"/>
                </a:lnTo>
                <a:lnTo>
                  <a:pt x="569642" y="73355"/>
                </a:lnTo>
                <a:lnTo>
                  <a:pt x="611997" y="56641"/>
                </a:lnTo>
                <a:lnTo>
                  <a:pt x="655334" y="41965"/>
                </a:lnTo>
                <a:lnTo>
                  <a:pt x="699593" y="29387"/>
                </a:lnTo>
                <a:lnTo>
                  <a:pt x="744718" y="18964"/>
                </a:lnTo>
                <a:lnTo>
                  <a:pt x="790648" y="10755"/>
                </a:lnTo>
                <a:lnTo>
                  <a:pt x="837325" y="4819"/>
                </a:lnTo>
                <a:lnTo>
                  <a:pt x="884691" y="1214"/>
                </a:lnTo>
                <a:lnTo>
                  <a:pt x="932688" y="0"/>
                </a:lnTo>
                <a:lnTo>
                  <a:pt x="980684" y="1214"/>
                </a:lnTo>
                <a:lnTo>
                  <a:pt x="1028050" y="4819"/>
                </a:lnTo>
                <a:lnTo>
                  <a:pt x="1074727" y="10755"/>
                </a:lnTo>
                <a:lnTo>
                  <a:pt x="1120657" y="18964"/>
                </a:lnTo>
                <a:lnTo>
                  <a:pt x="1165782" y="29387"/>
                </a:lnTo>
                <a:lnTo>
                  <a:pt x="1210041" y="41965"/>
                </a:lnTo>
                <a:lnTo>
                  <a:pt x="1253378" y="56641"/>
                </a:lnTo>
                <a:lnTo>
                  <a:pt x="1295733" y="73355"/>
                </a:lnTo>
                <a:lnTo>
                  <a:pt x="1337047" y="92048"/>
                </a:lnTo>
                <a:lnTo>
                  <a:pt x="1377263" y="112662"/>
                </a:lnTo>
                <a:lnTo>
                  <a:pt x="1416321" y="135138"/>
                </a:lnTo>
                <a:lnTo>
                  <a:pt x="1454163" y="159418"/>
                </a:lnTo>
                <a:lnTo>
                  <a:pt x="1490731" y="185443"/>
                </a:lnTo>
                <a:lnTo>
                  <a:pt x="1525965" y="213154"/>
                </a:lnTo>
                <a:lnTo>
                  <a:pt x="1559807" y="242493"/>
                </a:lnTo>
                <a:lnTo>
                  <a:pt x="1592198" y="273400"/>
                </a:lnTo>
                <a:lnTo>
                  <a:pt x="1623081" y="305818"/>
                </a:lnTo>
                <a:lnTo>
                  <a:pt x="1652396" y="339688"/>
                </a:lnTo>
                <a:lnTo>
                  <a:pt x="1680084" y="374951"/>
                </a:lnTo>
                <a:lnTo>
                  <a:pt x="1706088" y="411548"/>
                </a:lnTo>
                <a:lnTo>
                  <a:pt x="1730348" y="449421"/>
                </a:lnTo>
                <a:lnTo>
                  <a:pt x="1752806" y="488511"/>
                </a:lnTo>
                <a:lnTo>
                  <a:pt x="1773403" y="528760"/>
                </a:lnTo>
                <a:lnTo>
                  <a:pt x="1792081" y="570108"/>
                </a:lnTo>
                <a:lnTo>
                  <a:pt x="1808781" y="612498"/>
                </a:lnTo>
                <a:lnTo>
                  <a:pt x="1823444" y="655870"/>
                </a:lnTo>
                <a:lnTo>
                  <a:pt x="1836012" y="700166"/>
                </a:lnTo>
                <a:lnTo>
                  <a:pt x="1846427" y="745327"/>
                </a:lnTo>
                <a:lnTo>
                  <a:pt x="1854629" y="791294"/>
                </a:lnTo>
                <a:lnTo>
                  <a:pt x="1860560" y="838010"/>
                </a:lnTo>
                <a:lnTo>
                  <a:pt x="1864162" y="885414"/>
                </a:lnTo>
                <a:lnTo>
                  <a:pt x="1865376" y="933450"/>
                </a:lnTo>
                <a:lnTo>
                  <a:pt x="1864162" y="981485"/>
                </a:lnTo>
                <a:lnTo>
                  <a:pt x="1860560" y="1028889"/>
                </a:lnTo>
                <a:lnTo>
                  <a:pt x="1854629" y="1075605"/>
                </a:lnTo>
                <a:lnTo>
                  <a:pt x="1846427" y="1121572"/>
                </a:lnTo>
                <a:lnTo>
                  <a:pt x="1836012" y="1166733"/>
                </a:lnTo>
                <a:lnTo>
                  <a:pt x="1823444" y="1211029"/>
                </a:lnTo>
                <a:lnTo>
                  <a:pt x="1808781" y="1254401"/>
                </a:lnTo>
                <a:lnTo>
                  <a:pt x="1792081" y="1296791"/>
                </a:lnTo>
                <a:lnTo>
                  <a:pt x="1773403" y="1338139"/>
                </a:lnTo>
                <a:lnTo>
                  <a:pt x="1752806" y="1378388"/>
                </a:lnTo>
                <a:lnTo>
                  <a:pt x="1730348" y="1417478"/>
                </a:lnTo>
                <a:lnTo>
                  <a:pt x="1706088" y="1455351"/>
                </a:lnTo>
                <a:lnTo>
                  <a:pt x="1680084" y="1491948"/>
                </a:lnTo>
                <a:lnTo>
                  <a:pt x="1652396" y="1527211"/>
                </a:lnTo>
                <a:lnTo>
                  <a:pt x="1623081" y="1561081"/>
                </a:lnTo>
                <a:lnTo>
                  <a:pt x="1592199" y="1593499"/>
                </a:lnTo>
                <a:lnTo>
                  <a:pt x="1559807" y="1624406"/>
                </a:lnTo>
                <a:lnTo>
                  <a:pt x="1525965" y="1653745"/>
                </a:lnTo>
                <a:lnTo>
                  <a:pt x="1490731" y="1681456"/>
                </a:lnTo>
                <a:lnTo>
                  <a:pt x="1454163" y="1707481"/>
                </a:lnTo>
                <a:lnTo>
                  <a:pt x="1416321" y="1731761"/>
                </a:lnTo>
                <a:lnTo>
                  <a:pt x="1377263" y="1754237"/>
                </a:lnTo>
                <a:lnTo>
                  <a:pt x="1337047" y="1774851"/>
                </a:lnTo>
                <a:lnTo>
                  <a:pt x="1295733" y="1793544"/>
                </a:lnTo>
                <a:lnTo>
                  <a:pt x="1253378" y="1810258"/>
                </a:lnTo>
                <a:lnTo>
                  <a:pt x="1210041" y="1824934"/>
                </a:lnTo>
                <a:lnTo>
                  <a:pt x="1165782" y="1837512"/>
                </a:lnTo>
                <a:lnTo>
                  <a:pt x="1120657" y="1847935"/>
                </a:lnTo>
                <a:lnTo>
                  <a:pt x="1074727" y="1856144"/>
                </a:lnTo>
                <a:lnTo>
                  <a:pt x="1028050" y="1862080"/>
                </a:lnTo>
                <a:lnTo>
                  <a:pt x="980684" y="1865685"/>
                </a:lnTo>
                <a:lnTo>
                  <a:pt x="932688" y="1866900"/>
                </a:lnTo>
                <a:lnTo>
                  <a:pt x="884691" y="1865685"/>
                </a:lnTo>
                <a:lnTo>
                  <a:pt x="837325" y="1862080"/>
                </a:lnTo>
                <a:lnTo>
                  <a:pt x="790648" y="1856144"/>
                </a:lnTo>
                <a:lnTo>
                  <a:pt x="744718" y="1847935"/>
                </a:lnTo>
                <a:lnTo>
                  <a:pt x="699593" y="1837512"/>
                </a:lnTo>
                <a:lnTo>
                  <a:pt x="655334" y="1824934"/>
                </a:lnTo>
                <a:lnTo>
                  <a:pt x="611997" y="1810258"/>
                </a:lnTo>
                <a:lnTo>
                  <a:pt x="569642" y="1793544"/>
                </a:lnTo>
                <a:lnTo>
                  <a:pt x="528328" y="1774851"/>
                </a:lnTo>
                <a:lnTo>
                  <a:pt x="488112" y="1754237"/>
                </a:lnTo>
                <a:lnTo>
                  <a:pt x="449054" y="1731761"/>
                </a:lnTo>
                <a:lnTo>
                  <a:pt x="411212" y="1707481"/>
                </a:lnTo>
                <a:lnTo>
                  <a:pt x="374644" y="1681456"/>
                </a:lnTo>
                <a:lnTo>
                  <a:pt x="339410" y="1653745"/>
                </a:lnTo>
                <a:lnTo>
                  <a:pt x="305568" y="1624406"/>
                </a:lnTo>
                <a:lnTo>
                  <a:pt x="273176" y="1593499"/>
                </a:lnTo>
                <a:lnTo>
                  <a:pt x="242294" y="1561081"/>
                </a:lnTo>
                <a:lnTo>
                  <a:pt x="212979" y="1527211"/>
                </a:lnTo>
                <a:lnTo>
                  <a:pt x="185291" y="1491948"/>
                </a:lnTo>
                <a:lnTo>
                  <a:pt x="159287" y="1455351"/>
                </a:lnTo>
                <a:lnTo>
                  <a:pt x="135027" y="1417478"/>
                </a:lnTo>
                <a:lnTo>
                  <a:pt x="112569" y="1378388"/>
                </a:lnTo>
                <a:lnTo>
                  <a:pt x="91972" y="1338139"/>
                </a:lnTo>
                <a:lnTo>
                  <a:pt x="73294" y="1296791"/>
                </a:lnTo>
                <a:lnTo>
                  <a:pt x="56594" y="1254401"/>
                </a:lnTo>
                <a:lnTo>
                  <a:pt x="41931" y="1211029"/>
                </a:lnTo>
                <a:lnTo>
                  <a:pt x="29363" y="1166733"/>
                </a:lnTo>
                <a:lnTo>
                  <a:pt x="18948" y="1121572"/>
                </a:lnTo>
                <a:lnTo>
                  <a:pt x="10746" y="1075605"/>
                </a:lnTo>
                <a:lnTo>
                  <a:pt x="4815" y="1028889"/>
                </a:lnTo>
                <a:lnTo>
                  <a:pt x="1213" y="981485"/>
                </a:lnTo>
                <a:lnTo>
                  <a:pt x="0" y="933450"/>
                </a:lnTo>
                <a:close/>
              </a:path>
            </a:pathLst>
          </a:custGeom>
          <a:ln w="19050">
            <a:solidFill>
              <a:srgbClr val="FFD02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444500" y="1250413"/>
            <a:ext cx="10790555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In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2023,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op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mber health-related</a:t>
            </a:r>
            <a:r>
              <a:rPr sz="2400" spc="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social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needs</a:t>
            </a:r>
            <a:r>
              <a:rPr sz="24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mong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dicare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mbers </a:t>
            </a:r>
            <a:r>
              <a:rPr sz="2400" spc="-6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were:</a:t>
            </a:r>
            <a:endParaRPr sz="2400">
              <a:latin typeface="Arial"/>
              <a:cs typeface="Arial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05"/>
              </a:spcBef>
              <a:tabLst>
                <a:tab pos="11365865" algn="l"/>
              </a:tabLst>
            </a:pPr>
            <a:r>
              <a:rPr spc="-60" dirty="0"/>
              <a:t>WHAT</a:t>
            </a:r>
            <a:r>
              <a:rPr spc="-80" dirty="0"/>
              <a:t> </a:t>
            </a:r>
            <a:r>
              <a:rPr dirty="0"/>
              <a:t>WE</a:t>
            </a:r>
            <a:r>
              <a:rPr spc="-20" dirty="0"/>
              <a:t> </a:t>
            </a:r>
            <a:r>
              <a:rPr dirty="0"/>
              <a:t>KNOW	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444500" y="4823823"/>
            <a:ext cx="11157585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A</a:t>
            </a:r>
            <a:r>
              <a:rPr sz="2400" spc="-1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total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f 14,694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mbers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n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ll</a:t>
            </a:r>
            <a:r>
              <a:rPr sz="24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lines</a:t>
            </a:r>
            <a:r>
              <a:rPr sz="24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f business</a:t>
            </a:r>
            <a:r>
              <a:rPr sz="2400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were</a:t>
            </a:r>
            <a:r>
              <a:rPr sz="24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n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Department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f Homeless </a:t>
            </a:r>
            <a:r>
              <a:rPr sz="2400" spc="-6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Services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(DHS)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shelters</a:t>
            </a:r>
            <a:r>
              <a:rPr sz="24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during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2023</a:t>
            </a:r>
            <a:endParaRPr sz="2400">
              <a:latin typeface="Arial"/>
              <a:cs typeface="Arial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1726957" y="2470770"/>
            <a:ext cx="1264920" cy="763270"/>
            <a:chOff x="1726957" y="2470770"/>
            <a:chExt cx="1264920" cy="763270"/>
          </a:xfrm>
        </p:grpSpPr>
        <p:sp>
          <p:nvSpPr>
            <p:cNvPr id="12" name="object 12"/>
            <p:cNvSpPr/>
            <p:nvPr/>
          </p:nvSpPr>
          <p:spPr>
            <a:xfrm>
              <a:off x="1742510" y="2751124"/>
              <a:ext cx="714375" cy="467359"/>
            </a:xfrm>
            <a:custGeom>
              <a:avLst/>
              <a:gdLst/>
              <a:ahLst/>
              <a:cxnLst/>
              <a:rect l="l" t="t" r="r" b="b"/>
              <a:pathLst>
                <a:path w="714375" h="467360">
                  <a:moveTo>
                    <a:pt x="93175" y="249204"/>
                  </a:moveTo>
                  <a:lnTo>
                    <a:pt x="49725" y="239416"/>
                  </a:lnTo>
                  <a:lnTo>
                    <a:pt x="20906" y="212719"/>
                  </a:lnTo>
                  <a:lnTo>
                    <a:pt x="4928" y="173114"/>
                  </a:lnTo>
                  <a:lnTo>
                    <a:pt x="0" y="124602"/>
                  </a:lnTo>
                  <a:lnTo>
                    <a:pt x="9763" y="76103"/>
                  </a:lnTo>
                  <a:lnTo>
                    <a:pt x="36389" y="36496"/>
                  </a:lnTo>
                  <a:lnTo>
                    <a:pt x="75878" y="9792"/>
                  </a:lnTo>
                  <a:lnTo>
                    <a:pt x="124234" y="0"/>
                  </a:lnTo>
                  <a:lnTo>
                    <a:pt x="341644" y="0"/>
                  </a:lnTo>
                  <a:lnTo>
                    <a:pt x="390000" y="9792"/>
                  </a:lnTo>
                  <a:lnTo>
                    <a:pt x="429490" y="36496"/>
                  </a:lnTo>
                  <a:lnTo>
                    <a:pt x="456115" y="76103"/>
                  </a:lnTo>
                  <a:lnTo>
                    <a:pt x="465879" y="124602"/>
                  </a:lnTo>
                  <a:lnTo>
                    <a:pt x="456115" y="173101"/>
                  </a:lnTo>
                  <a:lnTo>
                    <a:pt x="429490" y="212707"/>
                  </a:lnTo>
                  <a:lnTo>
                    <a:pt x="390000" y="239412"/>
                  </a:lnTo>
                  <a:lnTo>
                    <a:pt x="341644" y="249204"/>
                  </a:lnTo>
                  <a:lnTo>
                    <a:pt x="372703" y="467258"/>
                  </a:lnTo>
                </a:path>
                <a:path w="714375" h="467360">
                  <a:moveTo>
                    <a:pt x="93175" y="249204"/>
                  </a:moveTo>
                  <a:lnTo>
                    <a:pt x="62117" y="467258"/>
                  </a:lnTo>
                  <a:lnTo>
                    <a:pt x="621172" y="467258"/>
                  </a:lnTo>
                  <a:lnTo>
                    <a:pt x="590113" y="249204"/>
                  </a:lnTo>
                  <a:lnTo>
                    <a:pt x="638469" y="239412"/>
                  </a:lnTo>
                  <a:lnTo>
                    <a:pt x="677958" y="212707"/>
                  </a:lnTo>
                  <a:lnTo>
                    <a:pt x="704584" y="173101"/>
                  </a:lnTo>
                  <a:lnTo>
                    <a:pt x="714347" y="124602"/>
                  </a:lnTo>
                  <a:lnTo>
                    <a:pt x="704584" y="76103"/>
                  </a:lnTo>
                  <a:lnTo>
                    <a:pt x="677958" y="36496"/>
                  </a:lnTo>
                  <a:lnTo>
                    <a:pt x="638469" y="9792"/>
                  </a:lnTo>
                  <a:lnTo>
                    <a:pt x="590113" y="0"/>
                  </a:lnTo>
                  <a:lnTo>
                    <a:pt x="341644" y="0"/>
                  </a:lnTo>
                </a:path>
              </a:pathLst>
            </a:custGeom>
            <a:ln w="31104">
              <a:solidFill>
                <a:srgbClr val="FFCF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2084154" y="3000329"/>
              <a:ext cx="248920" cy="0"/>
            </a:xfrm>
            <a:custGeom>
              <a:avLst/>
              <a:gdLst/>
              <a:ahLst/>
              <a:cxnLst/>
              <a:rect l="l" t="t" r="r" b="b"/>
              <a:pathLst>
                <a:path w="248919">
                  <a:moveTo>
                    <a:pt x="0" y="0"/>
                  </a:moveTo>
                  <a:lnTo>
                    <a:pt x="248468" y="0"/>
                  </a:lnTo>
                </a:path>
              </a:pathLst>
            </a:custGeom>
            <a:ln w="31150">
              <a:solidFill>
                <a:srgbClr val="FFCF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2509873" y="2486313"/>
              <a:ext cx="466090" cy="716915"/>
            </a:xfrm>
            <a:custGeom>
              <a:avLst/>
              <a:gdLst/>
              <a:ahLst/>
              <a:cxnLst/>
              <a:rect l="l" t="t" r="r" b="b"/>
              <a:pathLst>
                <a:path w="466089" h="716914">
                  <a:moveTo>
                    <a:pt x="403761" y="716463"/>
                  </a:moveTo>
                  <a:lnTo>
                    <a:pt x="62117" y="716463"/>
                  </a:lnTo>
                  <a:lnTo>
                    <a:pt x="0" y="0"/>
                  </a:lnTo>
                  <a:lnTo>
                    <a:pt x="465879" y="0"/>
                  </a:lnTo>
                  <a:lnTo>
                    <a:pt x="403761" y="716463"/>
                  </a:lnTo>
                  <a:close/>
                </a:path>
              </a:pathLst>
            </a:custGeom>
            <a:ln w="31085">
              <a:solidFill>
                <a:srgbClr val="FFCF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2531303" y="2735518"/>
              <a:ext cx="422909" cy="0"/>
            </a:xfrm>
            <a:custGeom>
              <a:avLst/>
              <a:gdLst/>
              <a:ahLst/>
              <a:cxnLst/>
              <a:rect l="l" t="t" r="r" b="b"/>
              <a:pathLst>
                <a:path w="422910">
                  <a:moveTo>
                    <a:pt x="0" y="0"/>
                  </a:moveTo>
                  <a:lnTo>
                    <a:pt x="422396" y="0"/>
                  </a:lnTo>
                </a:path>
              </a:pathLst>
            </a:custGeom>
            <a:ln w="31150">
              <a:solidFill>
                <a:srgbClr val="FFCF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6" name="object 16"/>
          <p:cNvGrpSpPr/>
          <p:nvPr/>
        </p:nvGrpSpPr>
        <p:grpSpPr>
          <a:xfrm>
            <a:off x="9476478" y="2685825"/>
            <a:ext cx="747395" cy="500380"/>
            <a:chOff x="9476478" y="2685825"/>
            <a:chExt cx="747395" cy="500380"/>
          </a:xfrm>
        </p:grpSpPr>
        <p:sp>
          <p:nvSpPr>
            <p:cNvPr id="17" name="object 17"/>
            <p:cNvSpPr/>
            <p:nvPr/>
          </p:nvSpPr>
          <p:spPr>
            <a:xfrm>
              <a:off x="9523229" y="3108027"/>
              <a:ext cx="93980" cy="62865"/>
            </a:xfrm>
            <a:custGeom>
              <a:avLst/>
              <a:gdLst/>
              <a:ahLst/>
              <a:cxnLst/>
              <a:rect l="l" t="t" r="r" b="b"/>
              <a:pathLst>
                <a:path w="93979" h="62864">
                  <a:moveTo>
                    <a:pt x="0" y="0"/>
                  </a:moveTo>
                  <a:lnTo>
                    <a:pt x="93361" y="0"/>
                  </a:lnTo>
                  <a:lnTo>
                    <a:pt x="93361" y="62549"/>
                  </a:lnTo>
                  <a:lnTo>
                    <a:pt x="0" y="62549"/>
                  </a:lnTo>
                  <a:lnTo>
                    <a:pt x="0" y="0"/>
                  </a:lnTo>
                  <a:close/>
                </a:path>
              </a:pathLst>
            </a:custGeom>
            <a:ln w="31227">
              <a:solidFill>
                <a:srgbClr val="FFCF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10083399" y="3108027"/>
              <a:ext cx="93980" cy="62865"/>
            </a:xfrm>
            <a:custGeom>
              <a:avLst/>
              <a:gdLst/>
              <a:ahLst/>
              <a:cxnLst/>
              <a:rect l="l" t="t" r="r" b="b"/>
              <a:pathLst>
                <a:path w="93979" h="62864">
                  <a:moveTo>
                    <a:pt x="0" y="0"/>
                  </a:moveTo>
                  <a:lnTo>
                    <a:pt x="93361" y="0"/>
                  </a:lnTo>
                  <a:lnTo>
                    <a:pt x="93361" y="62549"/>
                  </a:lnTo>
                  <a:lnTo>
                    <a:pt x="0" y="62549"/>
                  </a:lnTo>
                  <a:lnTo>
                    <a:pt x="0" y="0"/>
                  </a:lnTo>
                  <a:close/>
                </a:path>
              </a:pathLst>
            </a:custGeom>
            <a:ln w="31227">
              <a:solidFill>
                <a:srgbClr val="FFCF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9741071" y="3045477"/>
              <a:ext cx="218440" cy="93980"/>
            </a:xfrm>
            <a:custGeom>
              <a:avLst/>
              <a:gdLst/>
              <a:ahLst/>
              <a:cxnLst/>
              <a:rect l="l" t="t" r="r" b="b"/>
              <a:pathLst>
                <a:path w="218440" h="93980">
                  <a:moveTo>
                    <a:pt x="0" y="0"/>
                  </a:moveTo>
                  <a:lnTo>
                    <a:pt x="217844" y="0"/>
                  </a:lnTo>
                  <a:lnTo>
                    <a:pt x="217844" y="93824"/>
                  </a:lnTo>
                  <a:lnTo>
                    <a:pt x="0" y="93824"/>
                  </a:lnTo>
                  <a:lnTo>
                    <a:pt x="0" y="0"/>
                  </a:lnTo>
                  <a:close/>
                </a:path>
              </a:pathLst>
            </a:custGeom>
            <a:ln w="31250">
              <a:solidFill>
                <a:srgbClr val="FFCF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9492109" y="2889104"/>
              <a:ext cx="716280" cy="219075"/>
            </a:xfrm>
            <a:custGeom>
              <a:avLst/>
              <a:gdLst/>
              <a:ahLst/>
              <a:cxnLst/>
              <a:rect l="l" t="t" r="r" b="b"/>
              <a:pathLst>
                <a:path w="716279" h="219075">
                  <a:moveTo>
                    <a:pt x="466808" y="218924"/>
                  </a:moveTo>
                  <a:lnTo>
                    <a:pt x="715773" y="218924"/>
                  </a:lnTo>
                  <a:lnTo>
                    <a:pt x="715773" y="93824"/>
                  </a:lnTo>
                  <a:lnTo>
                    <a:pt x="622411" y="0"/>
                  </a:lnTo>
                  <a:lnTo>
                    <a:pt x="93361" y="0"/>
                  </a:lnTo>
                  <a:lnTo>
                    <a:pt x="0" y="93824"/>
                  </a:lnTo>
                  <a:lnTo>
                    <a:pt x="0" y="218924"/>
                  </a:lnTo>
                  <a:lnTo>
                    <a:pt x="248964" y="218924"/>
                  </a:lnTo>
                </a:path>
              </a:pathLst>
            </a:custGeom>
            <a:ln w="31261">
              <a:solidFill>
                <a:srgbClr val="FFCF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9585470" y="2701454"/>
              <a:ext cx="529590" cy="187960"/>
            </a:xfrm>
            <a:custGeom>
              <a:avLst/>
              <a:gdLst/>
              <a:ahLst/>
              <a:cxnLst/>
              <a:rect l="l" t="t" r="r" b="b"/>
              <a:pathLst>
                <a:path w="529590" h="187960">
                  <a:moveTo>
                    <a:pt x="466808" y="0"/>
                  </a:moveTo>
                  <a:lnTo>
                    <a:pt x="62241" y="0"/>
                  </a:lnTo>
                  <a:lnTo>
                    <a:pt x="0" y="187649"/>
                  </a:lnTo>
                  <a:lnTo>
                    <a:pt x="529050" y="187649"/>
                  </a:lnTo>
                  <a:lnTo>
                    <a:pt x="466808" y="0"/>
                  </a:lnTo>
                  <a:close/>
                </a:path>
              </a:pathLst>
            </a:custGeom>
            <a:ln w="31257">
              <a:solidFill>
                <a:srgbClr val="FFCF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9492104" y="2826552"/>
              <a:ext cx="716280" cy="219075"/>
            </a:xfrm>
            <a:custGeom>
              <a:avLst/>
              <a:gdLst/>
              <a:ahLst/>
              <a:cxnLst/>
              <a:rect l="l" t="t" r="r" b="b"/>
              <a:pathLst>
                <a:path w="716279" h="219075">
                  <a:moveTo>
                    <a:pt x="0" y="0"/>
                  </a:moveTo>
                  <a:lnTo>
                    <a:pt x="93361" y="0"/>
                  </a:lnTo>
                  <a:lnTo>
                    <a:pt x="93361" y="62549"/>
                  </a:lnTo>
                  <a:lnTo>
                    <a:pt x="0" y="62549"/>
                  </a:lnTo>
                  <a:lnTo>
                    <a:pt x="0" y="0"/>
                  </a:lnTo>
                  <a:close/>
                </a:path>
                <a:path w="716279" h="219075">
                  <a:moveTo>
                    <a:pt x="622411" y="0"/>
                  </a:moveTo>
                  <a:lnTo>
                    <a:pt x="715773" y="0"/>
                  </a:lnTo>
                  <a:lnTo>
                    <a:pt x="715773" y="62549"/>
                  </a:lnTo>
                  <a:lnTo>
                    <a:pt x="622411" y="62549"/>
                  </a:lnTo>
                  <a:lnTo>
                    <a:pt x="622411" y="0"/>
                  </a:lnTo>
                  <a:close/>
                </a:path>
                <a:path w="716279" h="219075">
                  <a:moveTo>
                    <a:pt x="0" y="156374"/>
                  </a:moveTo>
                  <a:lnTo>
                    <a:pt x="124482" y="156374"/>
                  </a:lnTo>
                  <a:lnTo>
                    <a:pt x="124482" y="218924"/>
                  </a:lnTo>
                  <a:lnTo>
                    <a:pt x="0" y="218924"/>
                  </a:lnTo>
                  <a:lnTo>
                    <a:pt x="0" y="156374"/>
                  </a:lnTo>
                  <a:close/>
                </a:path>
                <a:path w="716279" h="219075">
                  <a:moveTo>
                    <a:pt x="591291" y="156374"/>
                  </a:moveTo>
                  <a:lnTo>
                    <a:pt x="715773" y="156374"/>
                  </a:lnTo>
                  <a:lnTo>
                    <a:pt x="715773" y="218924"/>
                  </a:lnTo>
                  <a:lnTo>
                    <a:pt x="591291" y="218924"/>
                  </a:lnTo>
                  <a:lnTo>
                    <a:pt x="591291" y="156374"/>
                  </a:lnTo>
                  <a:close/>
                </a:path>
              </a:pathLst>
            </a:custGeom>
            <a:ln w="31197">
              <a:solidFill>
                <a:srgbClr val="FFCF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9849991" y="2951653"/>
              <a:ext cx="0" cy="31750"/>
            </a:xfrm>
            <a:custGeom>
              <a:avLst/>
              <a:gdLst/>
              <a:ahLst/>
              <a:cxnLst/>
              <a:rect l="l" t="t" r="r" b="b"/>
              <a:pathLst>
                <a:path h="31750">
                  <a:moveTo>
                    <a:pt x="-15560" y="15637"/>
                  </a:moveTo>
                  <a:lnTo>
                    <a:pt x="15560" y="15637"/>
                  </a:lnTo>
                </a:path>
              </a:pathLst>
            </a:custGeom>
            <a:ln w="31274">
              <a:solidFill>
                <a:srgbClr val="FFCF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" name="object 24"/>
          <p:cNvGrpSpPr/>
          <p:nvPr/>
        </p:nvGrpSpPr>
        <p:grpSpPr>
          <a:xfrm>
            <a:off x="5665874" y="2520814"/>
            <a:ext cx="863600" cy="703580"/>
            <a:chOff x="5665874" y="2520814"/>
            <a:chExt cx="863600" cy="703580"/>
          </a:xfrm>
        </p:grpSpPr>
        <p:sp>
          <p:nvSpPr>
            <p:cNvPr id="25" name="object 25"/>
            <p:cNvSpPr/>
            <p:nvPr/>
          </p:nvSpPr>
          <p:spPr>
            <a:xfrm>
              <a:off x="5683899" y="3205996"/>
              <a:ext cx="827405" cy="0"/>
            </a:xfrm>
            <a:custGeom>
              <a:avLst/>
              <a:gdLst/>
              <a:ahLst/>
              <a:cxnLst/>
              <a:rect l="l" t="t" r="r" b="b"/>
              <a:pathLst>
                <a:path w="827404">
                  <a:moveTo>
                    <a:pt x="0" y="0"/>
                  </a:moveTo>
                  <a:lnTo>
                    <a:pt x="826989" y="0"/>
                  </a:lnTo>
                </a:path>
              </a:pathLst>
            </a:custGeom>
            <a:ln w="36062">
              <a:solidFill>
                <a:srgbClr val="FFCF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5791767" y="2845374"/>
              <a:ext cx="611505" cy="360680"/>
            </a:xfrm>
            <a:custGeom>
              <a:avLst/>
              <a:gdLst/>
              <a:ahLst/>
              <a:cxnLst/>
              <a:rect l="l" t="t" r="r" b="b"/>
              <a:pathLst>
                <a:path w="611504" h="360680">
                  <a:moveTo>
                    <a:pt x="0" y="0"/>
                  </a:moveTo>
                  <a:lnTo>
                    <a:pt x="611253" y="0"/>
                  </a:lnTo>
                  <a:lnTo>
                    <a:pt x="611253" y="360625"/>
                  </a:lnTo>
                  <a:lnTo>
                    <a:pt x="0" y="360625"/>
                  </a:lnTo>
                  <a:lnTo>
                    <a:pt x="0" y="0"/>
                  </a:lnTo>
                  <a:close/>
                </a:path>
              </a:pathLst>
            </a:custGeom>
            <a:ln w="36035">
              <a:solidFill>
                <a:srgbClr val="FFCF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5683899" y="2538839"/>
              <a:ext cx="827405" cy="306705"/>
            </a:xfrm>
            <a:custGeom>
              <a:avLst/>
              <a:gdLst/>
              <a:ahLst/>
              <a:cxnLst/>
              <a:rect l="l" t="t" r="r" b="b"/>
              <a:pathLst>
                <a:path w="827404" h="306705">
                  <a:moveTo>
                    <a:pt x="413494" y="0"/>
                  </a:moveTo>
                  <a:lnTo>
                    <a:pt x="0" y="306531"/>
                  </a:lnTo>
                  <a:lnTo>
                    <a:pt x="826989" y="306531"/>
                  </a:lnTo>
                  <a:lnTo>
                    <a:pt x="413494" y="0"/>
                  </a:lnTo>
                  <a:close/>
                </a:path>
              </a:pathLst>
            </a:custGeom>
            <a:ln w="36049">
              <a:solidFill>
                <a:srgbClr val="FFCF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6295152" y="2610964"/>
              <a:ext cx="107950" cy="154940"/>
            </a:xfrm>
            <a:custGeom>
              <a:avLst/>
              <a:gdLst/>
              <a:ahLst/>
              <a:cxnLst/>
              <a:rect l="l" t="t" r="r" b="b"/>
              <a:pathLst>
                <a:path w="107950" h="154939">
                  <a:moveTo>
                    <a:pt x="107868" y="154347"/>
                  </a:moveTo>
                  <a:lnTo>
                    <a:pt x="107868" y="0"/>
                  </a:lnTo>
                  <a:lnTo>
                    <a:pt x="0" y="0"/>
                  </a:lnTo>
                  <a:lnTo>
                    <a:pt x="0" y="75190"/>
                  </a:lnTo>
                </a:path>
              </a:pathLst>
            </a:custGeom>
            <a:ln w="35991">
              <a:solidFill>
                <a:srgbClr val="FFCF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5863679" y="2953562"/>
              <a:ext cx="431800" cy="252729"/>
            </a:xfrm>
            <a:custGeom>
              <a:avLst/>
              <a:gdLst/>
              <a:ahLst/>
              <a:cxnLst/>
              <a:rect l="l" t="t" r="r" b="b"/>
              <a:pathLst>
                <a:path w="431800" h="252730">
                  <a:moveTo>
                    <a:pt x="35956" y="0"/>
                  </a:moveTo>
                  <a:lnTo>
                    <a:pt x="143824" y="0"/>
                  </a:lnTo>
                  <a:lnTo>
                    <a:pt x="143824" y="180312"/>
                  </a:lnTo>
                  <a:lnTo>
                    <a:pt x="35956" y="180312"/>
                  </a:lnTo>
                  <a:lnTo>
                    <a:pt x="35956" y="0"/>
                  </a:lnTo>
                  <a:close/>
                </a:path>
                <a:path w="431800" h="252730">
                  <a:moveTo>
                    <a:pt x="251692" y="0"/>
                  </a:moveTo>
                  <a:lnTo>
                    <a:pt x="431472" y="0"/>
                  </a:lnTo>
                  <a:lnTo>
                    <a:pt x="431472" y="108187"/>
                  </a:lnTo>
                  <a:lnTo>
                    <a:pt x="251692" y="108187"/>
                  </a:lnTo>
                  <a:lnTo>
                    <a:pt x="251692" y="0"/>
                  </a:lnTo>
                  <a:close/>
                </a:path>
                <a:path w="431800" h="252730">
                  <a:moveTo>
                    <a:pt x="0" y="180312"/>
                  </a:moveTo>
                  <a:lnTo>
                    <a:pt x="179780" y="180312"/>
                  </a:lnTo>
                  <a:lnTo>
                    <a:pt x="179780" y="252437"/>
                  </a:lnTo>
                  <a:lnTo>
                    <a:pt x="0" y="252437"/>
                  </a:lnTo>
                  <a:lnTo>
                    <a:pt x="0" y="180312"/>
                  </a:lnTo>
                  <a:close/>
                </a:path>
              </a:pathLst>
            </a:custGeom>
            <a:ln w="36009">
              <a:solidFill>
                <a:srgbClr val="FFCF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object 3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16</a:t>
            </a:fld>
            <a:endParaRPr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502407" y="3503676"/>
            <a:ext cx="7187183" cy="2558795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05"/>
              </a:spcBef>
              <a:tabLst>
                <a:tab pos="11365865" algn="l"/>
              </a:tabLst>
            </a:pPr>
            <a:r>
              <a:rPr spc="-5" dirty="0"/>
              <a:t>FINDHELP	</a:t>
            </a:r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17</a:t>
            </a:fld>
            <a:endParaRPr dirty="0"/>
          </a:p>
        </p:txBody>
      </p:sp>
      <p:sp>
        <p:nvSpPr>
          <p:cNvPr id="4" name="object 4"/>
          <p:cNvSpPr txBox="1"/>
          <p:nvPr/>
        </p:nvSpPr>
        <p:spPr>
          <a:xfrm>
            <a:off x="444500" y="1351279"/>
            <a:ext cx="11177905" cy="2006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FindHelp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s an online community resource referral platform that immediately 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allows </a:t>
            </a:r>
            <a:r>
              <a:rPr sz="2400" spc="-6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staff</a:t>
            </a:r>
            <a:r>
              <a:rPr sz="24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provide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mbers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with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ommunity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resources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within</a:t>
            </a:r>
            <a:r>
              <a:rPr sz="2400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their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ZIP</a:t>
            </a:r>
            <a:r>
              <a:rPr sz="2400" spc="-6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ode.</a:t>
            </a:r>
            <a:endParaRPr sz="2400">
              <a:latin typeface="Arial"/>
              <a:cs typeface="Arial"/>
            </a:endParaRPr>
          </a:p>
          <a:p>
            <a:pPr marL="12700" marR="723900" algn="just">
              <a:lnSpc>
                <a:spcPct val="100000"/>
              </a:lnSpc>
              <a:spcBef>
                <a:spcPts val="1200"/>
              </a:spcBef>
            </a:pP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Staff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an use 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FindHelp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o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ssist members in finding food pantries, community </a:t>
            </a:r>
            <a:r>
              <a:rPr sz="2400" spc="-6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rganizations that can assist with SNAP/WIC applications or provide diapers,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birthing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lasses,</a:t>
            </a:r>
            <a:r>
              <a:rPr sz="24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etc.</a:t>
            </a:r>
            <a:endParaRPr sz="2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6076188"/>
            <a:ext cx="12192000" cy="782320"/>
          </a:xfrm>
          <a:custGeom>
            <a:avLst/>
            <a:gdLst/>
            <a:ahLst/>
            <a:cxnLst/>
            <a:rect l="l" t="t" r="r" b="b"/>
            <a:pathLst>
              <a:path w="12192000" h="782320">
                <a:moveTo>
                  <a:pt x="12192000" y="0"/>
                </a:moveTo>
                <a:lnTo>
                  <a:pt x="0" y="0"/>
                </a:lnTo>
                <a:lnTo>
                  <a:pt x="0" y="781812"/>
                </a:lnTo>
                <a:lnTo>
                  <a:pt x="12192000" y="781812"/>
                </a:lnTo>
                <a:lnTo>
                  <a:pt x="12192000" y="0"/>
                </a:lnTo>
                <a:close/>
              </a:path>
            </a:pathLst>
          </a:custGeom>
          <a:solidFill>
            <a:srgbClr val="FFD02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457200" y="1093977"/>
            <a:ext cx="11353800" cy="12700"/>
            <a:chOff x="457200" y="1093977"/>
            <a:chExt cx="11353800" cy="12700"/>
          </a:xfrm>
        </p:grpSpPr>
        <p:sp>
          <p:nvSpPr>
            <p:cNvPr id="4" name="object 4"/>
            <p:cNvSpPr/>
            <p:nvPr/>
          </p:nvSpPr>
          <p:spPr>
            <a:xfrm>
              <a:off x="457200" y="1093977"/>
              <a:ext cx="11353800" cy="12700"/>
            </a:xfrm>
            <a:custGeom>
              <a:avLst/>
              <a:gdLst/>
              <a:ahLst/>
              <a:cxnLst/>
              <a:rect l="l" t="t" r="r" b="b"/>
              <a:pathLst>
                <a:path w="11353800" h="12700">
                  <a:moveTo>
                    <a:pt x="11353800" y="0"/>
                  </a:moveTo>
                  <a:lnTo>
                    <a:pt x="0" y="0"/>
                  </a:lnTo>
                  <a:lnTo>
                    <a:pt x="0" y="12700"/>
                  </a:lnTo>
                  <a:lnTo>
                    <a:pt x="11353800" y="12700"/>
                  </a:lnTo>
                  <a:lnTo>
                    <a:pt x="11353800" y="0"/>
                  </a:lnTo>
                  <a:close/>
                </a:path>
              </a:pathLst>
            </a:custGeom>
            <a:solidFill>
              <a:srgbClr val="BE9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57200" y="1093977"/>
              <a:ext cx="11353800" cy="12700"/>
            </a:xfrm>
            <a:custGeom>
              <a:avLst/>
              <a:gdLst/>
              <a:ahLst/>
              <a:cxnLst/>
              <a:rect l="l" t="t" r="r" b="b"/>
              <a:pathLst>
                <a:path w="11353800" h="12700">
                  <a:moveTo>
                    <a:pt x="0" y="12700"/>
                  </a:moveTo>
                  <a:lnTo>
                    <a:pt x="11353800" y="12700"/>
                  </a:lnTo>
                  <a:lnTo>
                    <a:pt x="11353800" y="0"/>
                  </a:lnTo>
                  <a:lnTo>
                    <a:pt x="0" y="0"/>
                  </a:lnTo>
                  <a:lnTo>
                    <a:pt x="0" y="12700"/>
                  </a:lnTo>
                  <a:close/>
                </a:path>
              </a:pathLst>
            </a:custGeom>
            <a:solidFill>
              <a:srgbClr val="FFD0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57200" y="6259067"/>
            <a:ext cx="2840735" cy="416051"/>
          </a:xfrm>
          <a:prstGeom prst="rect">
            <a:avLst/>
          </a:prstGeom>
        </p:spPr>
      </p:pic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457200" y="592613"/>
            <a:ext cx="717232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u="none" spc="-5" dirty="0">
                <a:solidFill>
                  <a:srgbClr val="404040"/>
                </a:solidFill>
              </a:rPr>
              <a:t>FIND</a:t>
            </a:r>
            <a:r>
              <a:rPr sz="2400" u="none" spc="-10" dirty="0">
                <a:solidFill>
                  <a:srgbClr val="404040"/>
                </a:solidFill>
              </a:rPr>
              <a:t> HELP</a:t>
            </a:r>
            <a:r>
              <a:rPr sz="2400" u="none" spc="-40" dirty="0">
                <a:solidFill>
                  <a:srgbClr val="404040"/>
                </a:solidFill>
              </a:rPr>
              <a:t> </a:t>
            </a:r>
            <a:r>
              <a:rPr sz="2400" u="none" spc="-5" dirty="0">
                <a:solidFill>
                  <a:srgbClr val="404040"/>
                </a:solidFill>
              </a:rPr>
              <a:t>SEARCH</a:t>
            </a:r>
            <a:r>
              <a:rPr sz="2400" u="none" spc="-20" dirty="0">
                <a:solidFill>
                  <a:srgbClr val="404040"/>
                </a:solidFill>
              </a:rPr>
              <a:t> </a:t>
            </a:r>
            <a:r>
              <a:rPr sz="2400" u="none" spc="-5" dirty="0">
                <a:solidFill>
                  <a:srgbClr val="404040"/>
                </a:solidFill>
              </a:rPr>
              <a:t>TERM</a:t>
            </a:r>
            <a:r>
              <a:rPr sz="2400" u="none" spc="-125" dirty="0">
                <a:solidFill>
                  <a:srgbClr val="404040"/>
                </a:solidFill>
              </a:rPr>
              <a:t> </a:t>
            </a:r>
            <a:r>
              <a:rPr sz="2400" u="none" spc="-5" dirty="0">
                <a:solidFill>
                  <a:srgbClr val="404040"/>
                </a:solidFill>
              </a:rPr>
              <a:t>AND</a:t>
            </a:r>
            <a:r>
              <a:rPr sz="2400" u="none" spc="10" dirty="0">
                <a:solidFill>
                  <a:srgbClr val="404040"/>
                </a:solidFill>
              </a:rPr>
              <a:t> </a:t>
            </a:r>
            <a:r>
              <a:rPr sz="2400" u="none" spc="-10" dirty="0">
                <a:solidFill>
                  <a:srgbClr val="404040"/>
                </a:solidFill>
              </a:rPr>
              <a:t>REFERRAL</a:t>
            </a:r>
            <a:r>
              <a:rPr sz="2400" u="none" spc="-50" dirty="0">
                <a:solidFill>
                  <a:srgbClr val="404040"/>
                </a:solidFill>
              </a:rPr>
              <a:t> </a:t>
            </a:r>
            <a:r>
              <a:rPr sz="2400" u="none" spc="-100" dirty="0">
                <a:solidFill>
                  <a:srgbClr val="404040"/>
                </a:solidFill>
              </a:rPr>
              <a:t>DATA</a:t>
            </a:r>
            <a:endParaRPr sz="2400"/>
          </a:p>
        </p:txBody>
      </p:sp>
      <p:sp>
        <p:nvSpPr>
          <p:cNvPr id="8" name="object 8"/>
          <p:cNvSpPr txBox="1"/>
          <p:nvPr/>
        </p:nvSpPr>
        <p:spPr>
          <a:xfrm>
            <a:off x="469391" y="1138427"/>
            <a:ext cx="11405870" cy="1201420"/>
          </a:xfrm>
          <a:prstGeom prst="rect">
            <a:avLst/>
          </a:prstGeom>
          <a:ln w="12700">
            <a:solidFill>
              <a:srgbClr val="A4A4A4"/>
            </a:solidFill>
          </a:ln>
        </p:spPr>
        <p:txBody>
          <a:bodyPr vert="horz" wrap="square" lIns="0" tIns="45085" rIns="0" bIns="0" rtlCol="0">
            <a:spAutoFit/>
          </a:bodyPr>
          <a:lstStyle/>
          <a:p>
            <a:pPr marL="377825" indent="-287020">
              <a:lnSpc>
                <a:spcPct val="100000"/>
              </a:lnSpc>
              <a:spcBef>
                <a:spcPts val="355"/>
              </a:spcBef>
              <a:buChar char="•"/>
              <a:tabLst>
                <a:tab pos="377825" algn="l"/>
                <a:tab pos="378460" algn="l"/>
              </a:tabLst>
            </a:pPr>
            <a:r>
              <a:rPr sz="1800" spc="-5" dirty="0">
                <a:latin typeface="Arial"/>
                <a:cs typeface="Arial"/>
              </a:rPr>
              <a:t>Find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Help</a:t>
            </a:r>
            <a:r>
              <a:rPr sz="1800" spc="1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is</a:t>
            </a:r>
            <a:r>
              <a:rPr sz="180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an</a:t>
            </a:r>
            <a:r>
              <a:rPr sz="1800" spc="1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online</a:t>
            </a:r>
            <a:r>
              <a:rPr sz="1800" spc="1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platform</a:t>
            </a:r>
            <a:r>
              <a:rPr sz="1800" spc="1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designed</a:t>
            </a:r>
            <a:r>
              <a:rPr sz="1800" spc="2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to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connect</a:t>
            </a:r>
            <a:r>
              <a:rPr sz="1800" spc="2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members</a:t>
            </a:r>
            <a:r>
              <a:rPr sz="1800" spc="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to</a:t>
            </a:r>
            <a:r>
              <a:rPr sz="1800" spc="-1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resources</a:t>
            </a:r>
            <a:r>
              <a:rPr sz="1800" spc="1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in</a:t>
            </a:r>
            <a:r>
              <a:rPr sz="1800" spc="1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their</a:t>
            </a:r>
            <a:r>
              <a:rPr sz="1800" dirty="0">
                <a:latin typeface="Arial"/>
                <a:cs typeface="Arial"/>
              </a:rPr>
              <a:t> </a:t>
            </a:r>
            <a:r>
              <a:rPr sz="1800" spc="-20" dirty="0">
                <a:latin typeface="Arial"/>
                <a:cs typeface="Arial"/>
              </a:rPr>
              <a:t>community.</a:t>
            </a:r>
            <a:endParaRPr sz="1800">
              <a:latin typeface="Arial"/>
              <a:cs typeface="Arial"/>
            </a:endParaRPr>
          </a:p>
          <a:p>
            <a:pPr marL="377825" marR="421640" indent="-287020">
              <a:lnSpc>
                <a:spcPct val="100000"/>
              </a:lnSpc>
              <a:buChar char="•"/>
              <a:tabLst>
                <a:tab pos="377825" algn="l"/>
                <a:tab pos="378460" algn="l"/>
              </a:tabLst>
            </a:pPr>
            <a:r>
              <a:rPr sz="1800" spc="-5" dirty="0">
                <a:latin typeface="Arial"/>
                <a:cs typeface="Arial"/>
              </a:rPr>
              <a:t>Care</a:t>
            </a:r>
            <a:r>
              <a:rPr sz="1800" spc="1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Managers</a:t>
            </a:r>
            <a:r>
              <a:rPr sz="1800" spc="1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and</a:t>
            </a:r>
            <a:r>
              <a:rPr sz="1800" spc="1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support</a:t>
            </a:r>
            <a:r>
              <a:rPr sz="1800" spc="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staff</a:t>
            </a:r>
            <a:r>
              <a:rPr sz="1800" spc="1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can send</a:t>
            </a:r>
            <a:r>
              <a:rPr sz="1800" spc="1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information</a:t>
            </a:r>
            <a:r>
              <a:rPr sz="1800" spc="1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members</a:t>
            </a:r>
            <a:r>
              <a:rPr sz="180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and</a:t>
            </a:r>
            <a:r>
              <a:rPr sz="1800" spc="1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complete</a:t>
            </a:r>
            <a:r>
              <a:rPr sz="1800" spc="1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closed</a:t>
            </a:r>
            <a:r>
              <a:rPr sz="1800" spc="1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loop</a:t>
            </a:r>
            <a:r>
              <a:rPr sz="1800" spc="1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referrals</a:t>
            </a:r>
            <a:r>
              <a:rPr sz="1800" spc="15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484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participating</a:t>
            </a:r>
            <a:r>
              <a:rPr sz="1800" spc="2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community-based</a:t>
            </a:r>
            <a:r>
              <a:rPr sz="1800" spc="4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organizations</a:t>
            </a:r>
            <a:r>
              <a:rPr sz="1800" spc="2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(CBOs).</a:t>
            </a:r>
            <a:endParaRPr sz="1800">
              <a:latin typeface="Arial"/>
              <a:cs typeface="Arial"/>
            </a:endParaRPr>
          </a:p>
          <a:p>
            <a:pPr marL="377825" indent="-287020">
              <a:lnSpc>
                <a:spcPct val="100000"/>
              </a:lnSpc>
              <a:buChar char="•"/>
              <a:tabLst>
                <a:tab pos="377825" algn="l"/>
                <a:tab pos="378460" algn="l"/>
              </a:tabLst>
            </a:pPr>
            <a:r>
              <a:rPr sz="1800" spc="-5" dirty="0">
                <a:latin typeface="Arial"/>
                <a:cs typeface="Arial"/>
              </a:rPr>
              <a:t>There</a:t>
            </a:r>
            <a:r>
              <a:rPr sz="1800" spc="-15" dirty="0">
                <a:latin typeface="Arial"/>
                <a:cs typeface="Arial"/>
              </a:rPr>
              <a:t> were</a:t>
            </a:r>
            <a:r>
              <a:rPr sz="1800" spc="4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4,828</a:t>
            </a:r>
            <a:r>
              <a:rPr sz="1800" spc="1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searches</a:t>
            </a:r>
            <a:r>
              <a:rPr sz="1800" spc="15" dirty="0">
                <a:latin typeface="Arial"/>
                <a:cs typeface="Arial"/>
              </a:rPr>
              <a:t> </a:t>
            </a:r>
            <a:r>
              <a:rPr sz="1800" spc="-15" dirty="0">
                <a:latin typeface="Arial"/>
                <a:cs typeface="Arial"/>
              </a:rPr>
              <a:t>between</a:t>
            </a:r>
            <a:r>
              <a:rPr sz="1800" spc="5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01/01/2024</a:t>
            </a:r>
            <a:r>
              <a:rPr sz="1800" spc="40" dirty="0">
                <a:latin typeface="Arial"/>
                <a:cs typeface="Arial"/>
              </a:rPr>
              <a:t> </a:t>
            </a:r>
            <a:r>
              <a:rPr sz="1800" dirty="0">
                <a:latin typeface="Arial"/>
                <a:cs typeface="Arial"/>
              </a:rPr>
              <a:t>– </a:t>
            </a:r>
            <a:r>
              <a:rPr sz="1800" spc="-10" dirty="0">
                <a:latin typeface="Arial"/>
                <a:cs typeface="Arial"/>
              </a:rPr>
              <a:t>07/31/2024.</a:t>
            </a:r>
            <a:endParaRPr sz="1800">
              <a:latin typeface="Arial"/>
              <a:cs typeface="Arial"/>
            </a:endParaRPr>
          </a:p>
        </p:txBody>
      </p:sp>
      <p:graphicFrame>
        <p:nvGraphicFramePr>
          <p:cNvPr id="9" name="object 9"/>
          <p:cNvGraphicFramePr>
            <a:graphicFrameLocks noGrp="1"/>
          </p:cNvGraphicFramePr>
          <p:nvPr/>
        </p:nvGraphicFramePr>
        <p:xfrm>
          <a:off x="630077" y="2882055"/>
          <a:ext cx="6375400" cy="18802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200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553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2104">
                <a:tc gridSpan="2"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400" b="1" spc="-10" dirty="0">
                          <a:latin typeface="Arial"/>
                          <a:cs typeface="Arial"/>
                        </a:rPr>
                        <a:t>TOP</a:t>
                      </a:r>
                      <a:r>
                        <a:rPr sz="1400" b="1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dirty="0">
                          <a:latin typeface="Arial"/>
                          <a:cs typeface="Arial"/>
                        </a:rPr>
                        <a:t>6</a:t>
                      </a:r>
                      <a:r>
                        <a:rPr sz="1400" b="1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5" dirty="0">
                          <a:latin typeface="Arial"/>
                          <a:cs typeface="Arial"/>
                        </a:rPr>
                        <a:t>MOST</a:t>
                      </a:r>
                      <a:r>
                        <a:rPr sz="1400" b="1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REFERRED</a:t>
                      </a:r>
                      <a:r>
                        <a:rPr sz="1400" b="1" spc="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15" dirty="0">
                          <a:latin typeface="Arial"/>
                          <a:cs typeface="Arial"/>
                        </a:rPr>
                        <a:t>TO</a:t>
                      </a:r>
                      <a:r>
                        <a:rPr sz="1400" b="1" spc="-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b="1" spc="-5" dirty="0">
                          <a:latin typeface="Arial"/>
                          <a:cs typeface="Arial"/>
                        </a:rPr>
                        <a:t>PROGRAMS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E7E6E6"/>
                      </a:solidFill>
                      <a:prstDash val="solid"/>
                    </a:lnL>
                    <a:lnR w="12700">
                      <a:solidFill>
                        <a:srgbClr val="E7E6E6"/>
                      </a:solidFill>
                      <a:prstDash val="solid"/>
                    </a:lnR>
                    <a:lnT w="12700">
                      <a:solidFill>
                        <a:srgbClr val="E7E6E6"/>
                      </a:solidFill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1788">
                <a:tc>
                  <a:txBody>
                    <a:bodyPr/>
                    <a:lstStyle/>
                    <a:p>
                      <a:pPr marL="377825" marR="251460" indent="-287020">
                        <a:lnSpc>
                          <a:spcPct val="100000"/>
                        </a:lnSpc>
                        <a:spcBef>
                          <a:spcPts val="470"/>
                        </a:spcBef>
                        <a:buChar char="•"/>
                        <a:tabLst>
                          <a:tab pos="377825" algn="l"/>
                          <a:tab pos="378460" algn="l"/>
                        </a:tabLst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Lasagna</a:t>
                      </a:r>
                      <a:r>
                        <a:rPr sz="1400" spc="-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Love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(Prepared</a:t>
                      </a:r>
                      <a:r>
                        <a:rPr sz="14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Meal </a:t>
                      </a:r>
                      <a:r>
                        <a:rPr sz="1400" spc="-3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Delivery)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59690" marB="0">
                    <a:lnL w="12700">
                      <a:solidFill>
                        <a:srgbClr val="E7E6E6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545465" marR="817880" indent="-287020">
                        <a:lnSpc>
                          <a:spcPct val="100000"/>
                        </a:lnSpc>
                        <a:spcBef>
                          <a:spcPts val="470"/>
                        </a:spcBef>
                        <a:buChar char="•"/>
                        <a:tabLst>
                          <a:tab pos="545465" algn="l"/>
                          <a:tab pos="546100" algn="l"/>
                        </a:tabLst>
                      </a:pPr>
                      <a:r>
                        <a:rPr sz="1400" spc="-15" dirty="0">
                          <a:latin typeface="Arial"/>
                          <a:cs typeface="Arial"/>
                        </a:rPr>
                        <a:t>True</a:t>
                      </a:r>
                      <a:r>
                        <a:rPr sz="1400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Connect</a:t>
                      </a:r>
                      <a:r>
                        <a:rPr sz="14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(Affordable </a:t>
                      </a:r>
                      <a:r>
                        <a:rPr sz="1400" spc="-3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Connectivity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Program)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59690" marB="0">
                    <a:lnR w="12700">
                      <a:solidFill>
                        <a:srgbClr val="E7E6E6"/>
                      </a:solidFill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8340">
                <a:tc>
                  <a:txBody>
                    <a:bodyPr/>
                    <a:lstStyle/>
                    <a:p>
                      <a:pPr marL="377825" indent="-287020">
                        <a:lnSpc>
                          <a:spcPct val="100000"/>
                        </a:lnSpc>
                        <a:spcBef>
                          <a:spcPts val="285"/>
                        </a:spcBef>
                        <a:buChar char="•"/>
                        <a:tabLst>
                          <a:tab pos="377825" algn="l"/>
                          <a:tab pos="378460" algn="l"/>
                        </a:tabLst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Med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Source</a:t>
                      </a:r>
                      <a:r>
                        <a:rPr sz="1400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(DME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products)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36195" marB="0">
                    <a:lnL w="12700">
                      <a:solidFill>
                        <a:srgbClr val="E7E6E6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545465" indent="-287020">
                        <a:lnSpc>
                          <a:spcPct val="100000"/>
                        </a:lnSpc>
                        <a:spcBef>
                          <a:spcPts val="285"/>
                        </a:spcBef>
                        <a:buChar char="•"/>
                        <a:tabLst>
                          <a:tab pos="545465" algn="l"/>
                          <a:tab pos="546100" algn="l"/>
                        </a:tabLst>
                      </a:pPr>
                      <a:r>
                        <a:rPr sz="1400" dirty="0">
                          <a:latin typeface="Arial"/>
                          <a:cs typeface="Arial"/>
                        </a:rPr>
                        <a:t>Esusu</a:t>
                      </a:r>
                      <a:r>
                        <a:rPr sz="14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(Rent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Relief</a:t>
                      </a:r>
                      <a:r>
                        <a:rPr sz="14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Fund)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36195" marB="0">
                    <a:lnR w="12700">
                      <a:solidFill>
                        <a:srgbClr val="E7E6E6"/>
                      </a:solidFill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7974">
                <a:tc>
                  <a:txBody>
                    <a:bodyPr/>
                    <a:lstStyle/>
                    <a:p>
                      <a:pPr marL="377825" marR="323850" indent="-287020">
                        <a:lnSpc>
                          <a:spcPct val="100000"/>
                        </a:lnSpc>
                        <a:spcBef>
                          <a:spcPts val="1019"/>
                        </a:spcBef>
                        <a:buChar char="•"/>
                        <a:tabLst>
                          <a:tab pos="377825" algn="l"/>
                          <a:tab pos="378460" algn="l"/>
                        </a:tabLst>
                      </a:pPr>
                      <a:r>
                        <a:rPr sz="1400" spc="-5" dirty="0">
                          <a:latin typeface="Arial"/>
                          <a:cs typeface="Arial"/>
                        </a:rPr>
                        <a:t>My</a:t>
                      </a:r>
                      <a:r>
                        <a:rPr sz="14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Housing</a:t>
                      </a:r>
                      <a:r>
                        <a:rPr sz="14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Search</a:t>
                      </a:r>
                      <a:r>
                        <a:rPr sz="1400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(Housing </a:t>
                      </a:r>
                      <a:r>
                        <a:rPr sz="1400" spc="-3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Locator</a:t>
                      </a:r>
                      <a:r>
                        <a:rPr sz="1400" spc="-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Call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center)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129539" marB="0">
                    <a:lnL w="12700">
                      <a:solidFill>
                        <a:srgbClr val="E7E6E6"/>
                      </a:solidFill>
                      <a:prstDash val="solid"/>
                    </a:lnL>
                    <a:lnB w="12700">
                      <a:solidFill>
                        <a:srgbClr val="E7E6E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45465" marR="450215" indent="-287020">
                        <a:lnSpc>
                          <a:spcPct val="100000"/>
                        </a:lnSpc>
                        <a:spcBef>
                          <a:spcPts val="1019"/>
                        </a:spcBef>
                        <a:buChar char="•"/>
                        <a:tabLst>
                          <a:tab pos="545465" algn="l"/>
                          <a:tab pos="546100" algn="l"/>
                        </a:tabLst>
                      </a:pPr>
                      <a:r>
                        <a:rPr sz="1400" spc="-10" dirty="0">
                          <a:latin typeface="Arial"/>
                          <a:cs typeface="Arial"/>
                        </a:rPr>
                        <a:t>NYS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 Office</a:t>
                      </a:r>
                      <a:r>
                        <a:rPr sz="1400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of</a:t>
                      </a:r>
                      <a:r>
                        <a:rPr sz="1400" spc="-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20" dirty="0">
                          <a:latin typeface="Arial"/>
                          <a:cs typeface="Arial"/>
                        </a:rPr>
                        <a:t>Temporary</a:t>
                      </a:r>
                      <a:r>
                        <a:rPr sz="1400" spc="3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nd </a:t>
                      </a:r>
                      <a:r>
                        <a:rPr sz="1400" spc="-37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D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i</a:t>
                      </a:r>
                      <a:r>
                        <a:rPr sz="1400" spc="5" dirty="0">
                          <a:latin typeface="Arial"/>
                          <a:cs typeface="Arial"/>
                        </a:rPr>
                        <a:t>s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bili</a:t>
                      </a:r>
                      <a:r>
                        <a:rPr sz="1400" spc="5" dirty="0">
                          <a:latin typeface="Arial"/>
                          <a:cs typeface="Arial"/>
                        </a:rPr>
                        <a:t>t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y</a:t>
                      </a:r>
                      <a:r>
                        <a:rPr sz="1400" spc="-10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A</a:t>
                      </a:r>
                      <a:r>
                        <a:rPr sz="1400" spc="5" dirty="0">
                          <a:latin typeface="Arial"/>
                          <a:cs typeface="Arial"/>
                        </a:rPr>
                        <a:t>ss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i</a:t>
                      </a:r>
                      <a:r>
                        <a:rPr sz="1400" spc="5" dirty="0">
                          <a:latin typeface="Arial"/>
                          <a:cs typeface="Arial"/>
                        </a:rPr>
                        <a:t>st</a:t>
                      </a:r>
                      <a:r>
                        <a:rPr sz="1400" spc="-5" dirty="0">
                          <a:latin typeface="Arial"/>
                          <a:cs typeface="Arial"/>
                        </a:rPr>
                        <a:t>a</a:t>
                      </a:r>
                      <a:r>
                        <a:rPr sz="1400" spc="-15" dirty="0">
                          <a:latin typeface="Arial"/>
                          <a:cs typeface="Arial"/>
                        </a:rPr>
                        <a:t>n</a:t>
                      </a:r>
                      <a:r>
                        <a:rPr sz="1400" spc="-10" dirty="0">
                          <a:latin typeface="Arial"/>
                          <a:cs typeface="Arial"/>
                        </a:rPr>
                        <a:t>c</a:t>
                      </a:r>
                      <a:r>
                        <a:rPr sz="1400" dirty="0">
                          <a:latin typeface="Arial"/>
                          <a:cs typeface="Arial"/>
                        </a:rPr>
                        <a:t>e</a:t>
                      </a:r>
                      <a:endParaRPr sz="1400">
                        <a:latin typeface="Arial"/>
                        <a:cs typeface="Arial"/>
                      </a:endParaRPr>
                    </a:p>
                  </a:txBody>
                  <a:tcPr marL="0" marR="0" marT="129539" marB="0">
                    <a:lnR w="12700">
                      <a:solidFill>
                        <a:srgbClr val="E7E6E6"/>
                      </a:solidFill>
                      <a:prstDash val="solid"/>
                    </a:lnR>
                    <a:lnB w="12700">
                      <a:solidFill>
                        <a:srgbClr val="E7E6E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0" name="object 10"/>
          <p:cNvGrpSpPr/>
          <p:nvPr/>
        </p:nvGrpSpPr>
        <p:grpSpPr>
          <a:xfrm>
            <a:off x="7439786" y="2480691"/>
            <a:ext cx="4646295" cy="3382645"/>
            <a:chOff x="7439786" y="2480691"/>
            <a:chExt cx="4646295" cy="3382645"/>
          </a:xfrm>
        </p:grpSpPr>
        <p:pic>
          <p:nvPicPr>
            <p:cNvPr id="11" name="object 1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531573" y="2628559"/>
              <a:ext cx="3825182" cy="3052195"/>
            </a:xfrm>
            <a:prstGeom prst="rect">
              <a:avLst/>
            </a:prstGeom>
          </p:spPr>
        </p:pic>
        <p:sp>
          <p:nvSpPr>
            <p:cNvPr id="12" name="object 12"/>
            <p:cNvSpPr/>
            <p:nvPr/>
          </p:nvSpPr>
          <p:spPr>
            <a:xfrm>
              <a:off x="7444549" y="2485453"/>
              <a:ext cx="4636770" cy="3373120"/>
            </a:xfrm>
            <a:custGeom>
              <a:avLst/>
              <a:gdLst/>
              <a:ahLst/>
              <a:cxnLst/>
              <a:rect l="l" t="t" r="r" b="b"/>
              <a:pathLst>
                <a:path w="4636770" h="3373120">
                  <a:moveTo>
                    <a:pt x="0" y="0"/>
                  </a:moveTo>
                  <a:lnTo>
                    <a:pt x="4435221" y="0"/>
                  </a:lnTo>
                  <a:lnTo>
                    <a:pt x="4435221" y="3372992"/>
                  </a:lnTo>
                  <a:lnTo>
                    <a:pt x="0" y="3372992"/>
                  </a:lnTo>
                  <a:lnTo>
                    <a:pt x="0" y="0"/>
                  </a:lnTo>
                  <a:close/>
                </a:path>
                <a:path w="4636770" h="3373120">
                  <a:moveTo>
                    <a:pt x="2609278" y="82486"/>
                  </a:moveTo>
                  <a:lnTo>
                    <a:pt x="4636198" y="82486"/>
                  </a:lnTo>
                  <a:lnTo>
                    <a:pt x="4636198" y="390334"/>
                  </a:lnTo>
                  <a:lnTo>
                    <a:pt x="2609278" y="390334"/>
                  </a:lnTo>
                  <a:lnTo>
                    <a:pt x="2609278" y="82486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10053828" y="2567939"/>
            <a:ext cx="1927860" cy="307975"/>
          </a:xfrm>
          <a:prstGeom prst="rect">
            <a:avLst/>
          </a:prstGeom>
          <a:ln w="9525">
            <a:solidFill>
              <a:srgbClr val="000000"/>
            </a:solidFill>
          </a:ln>
        </p:spPr>
        <p:txBody>
          <a:bodyPr vert="horz" wrap="square" lIns="0" tIns="4000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15"/>
              </a:spcBef>
            </a:pPr>
            <a:r>
              <a:rPr sz="1400" b="1" spc="-40" dirty="0">
                <a:latin typeface="Arial"/>
                <a:cs typeface="Arial"/>
              </a:rPr>
              <a:t>Top</a:t>
            </a:r>
            <a:r>
              <a:rPr sz="1400" b="1" spc="-30" dirty="0">
                <a:latin typeface="Arial"/>
                <a:cs typeface="Arial"/>
              </a:rPr>
              <a:t> </a:t>
            </a:r>
            <a:r>
              <a:rPr sz="1400" b="1" spc="-5" dirty="0">
                <a:latin typeface="Arial"/>
                <a:cs typeface="Arial"/>
              </a:rPr>
              <a:t>Search</a:t>
            </a:r>
            <a:r>
              <a:rPr sz="1400" b="1" spc="-40" dirty="0">
                <a:latin typeface="Arial"/>
                <a:cs typeface="Arial"/>
              </a:rPr>
              <a:t> </a:t>
            </a:r>
            <a:r>
              <a:rPr sz="1400" b="1" spc="-30" dirty="0">
                <a:latin typeface="Arial"/>
                <a:cs typeface="Arial"/>
              </a:rPr>
              <a:t>Term</a:t>
            </a:r>
            <a:r>
              <a:rPr sz="1400" b="1" spc="-40" dirty="0">
                <a:latin typeface="Arial"/>
                <a:cs typeface="Arial"/>
              </a:rPr>
              <a:t> </a:t>
            </a:r>
            <a:r>
              <a:rPr sz="1400" b="1" spc="-10" dirty="0">
                <a:latin typeface="Arial"/>
                <a:cs typeface="Arial"/>
              </a:rPr>
              <a:t>YTD</a:t>
            </a:r>
            <a:endParaRPr sz="14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860535" y="6395394"/>
            <a:ext cx="2357755" cy="2813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090"/>
              </a:lnSpc>
            </a:pPr>
            <a:r>
              <a:rPr sz="1800" spc="-5" dirty="0">
                <a:latin typeface="Arial"/>
                <a:cs typeface="Arial"/>
              </a:rPr>
              <a:t>*Data</a:t>
            </a:r>
            <a:r>
              <a:rPr sz="1800" spc="-2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as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of</a:t>
            </a:r>
            <a:r>
              <a:rPr sz="1800" spc="-2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07/31/2024</a:t>
            </a:r>
            <a:endParaRPr sz="18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3" name="object 3"/>
            <p:cNvSpPr/>
            <p:nvPr/>
          </p:nvSpPr>
          <p:spPr>
            <a:xfrm>
              <a:off x="0" y="0"/>
              <a:ext cx="12192000" cy="6179820"/>
            </a:xfrm>
            <a:custGeom>
              <a:avLst/>
              <a:gdLst/>
              <a:ahLst/>
              <a:cxnLst/>
              <a:rect l="l" t="t" r="r" b="b"/>
              <a:pathLst>
                <a:path w="12192000" h="6179820">
                  <a:moveTo>
                    <a:pt x="12192000" y="0"/>
                  </a:moveTo>
                  <a:lnTo>
                    <a:pt x="0" y="0"/>
                  </a:lnTo>
                  <a:lnTo>
                    <a:pt x="0" y="6179820"/>
                  </a:lnTo>
                  <a:lnTo>
                    <a:pt x="12192000" y="6179820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FFCF3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1525521" y="2218944"/>
              <a:ext cx="2209800" cy="2011680"/>
            </a:xfrm>
            <a:custGeom>
              <a:avLst/>
              <a:gdLst/>
              <a:ahLst/>
              <a:cxnLst/>
              <a:rect l="l" t="t" r="r" b="b"/>
              <a:pathLst>
                <a:path w="2209800" h="2011679">
                  <a:moveTo>
                    <a:pt x="2209800" y="0"/>
                  </a:moveTo>
                  <a:lnTo>
                    <a:pt x="1654746" y="0"/>
                  </a:lnTo>
                  <a:lnTo>
                    <a:pt x="594144" y="1467281"/>
                  </a:lnTo>
                  <a:lnTo>
                    <a:pt x="281444" y="1029169"/>
                  </a:lnTo>
                  <a:lnTo>
                    <a:pt x="0" y="1410246"/>
                  </a:lnTo>
                  <a:lnTo>
                    <a:pt x="424764" y="2011680"/>
                  </a:lnTo>
                  <a:lnTo>
                    <a:pt x="776554" y="2009089"/>
                  </a:lnTo>
                  <a:lnTo>
                    <a:pt x="2209800" y="0"/>
                  </a:ln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3913146" y="2208420"/>
            <a:ext cx="6549390" cy="1854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6000" u="none" spc="-5" dirty="0"/>
              <a:t>Food programs </a:t>
            </a:r>
            <a:r>
              <a:rPr sz="6000" u="none" dirty="0"/>
              <a:t>for </a:t>
            </a:r>
            <a:r>
              <a:rPr sz="6000" u="none" spc="5" dirty="0"/>
              <a:t> </a:t>
            </a:r>
            <a:r>
              <a:rPr sz="6000" u="none" spc="-5" dirty="0"/>
              <a:t>Medicare</a:t>
            </a:r>
            <a:r>
              <a:rPr sz="6000" u="none" spc="-80" dirty="0"/>
              <a:t> </a:t>
            </a:r>
            <a:r>
              <a:rPr sz="6000" u="none" dirty="0"/>
              <a:t>members</a:t>
            </a:r>
            <a:endParaRPr sz="6000"/>
          </a:p>
        </p:txBody>
      </p:sp>
      <p:sp>
        <p:nvSpPr>
          <p:cNvPr id="6" name="object 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19</a:t>
            </a:fld>
            <a:endParaRPr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1134110"/>
          </a:xfrm>
          <a:custGeom>
            <a:avLst/>
            <a:gdLst/>
            <a:ahLst/>
            <a:cxnLst/>
            <a:rect l="l" t="t" r="r" b="b"/>
            <a:pathLst>
              <a:path w="12192000" h="1134110">
                <a:moveTo>
                  <a:pt x="12192000" y="0"/>
                </a:moveTo>
                <a:lnTo>
                  <a:pt x="0" y="0"/>
                </a:lnTo>
                <a:lnTo>
                  <a:pt x="0" y="1133855"/>
                </a:lnTo>
                <a:lnTo>
                  <a:pt x="12192000" y="1133855"/>
                </a:lnTo>
                <a:lnTo>
                  <a:pt x="12192000" y="0"/>
                </a:lnTo>
                <a:close/>
              </a:path>
            </a:pathLst>
          </a:custGeom>
          <a:solidFill>
            <a:srgbClr val="FFCF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09813" y="380828"/>
            <a:ext cx="287020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u="none" spc="-5" dirty="0"/>
              <a:t>OBJECTIVES</a:t>
            </a:r>
            <a:endParaRPr sz="3600"/>
          </a:p>
        </p:txBody>
      </p:sp>
      <p:sp>
        <p:nvSpPr>
          <p:cNvPr id="4" name="object 4"/>
          <p:cNvSpPr txBox="1"/>
          <p:nvPr/>
        </p:nvSpPr>
        <p:spPr>
          <a:xfrm>
            <a:off x="710107" y="1331689"/>
            <a:ext cx="10511790" cy="3865879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0"/>
              </a:spcBef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t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end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f this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ourse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you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should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be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ble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to: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Describe</a:t>
            </a:r>
            <a:r>
              <a:rPr sz="24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4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dicare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odel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Explain</a:t>
            </a:r>
            <a:r>
              <a:rPr sz="2400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the requirements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4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dicare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odel</a:t>
            </a:r>
            <a:r>
              <a:rPr sz="24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4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endParaRPr sz="2400">
              <a:latin typeface="Arial"/>
              <a:cs typeface="Arial"/>
            </a:endParaRPr>
          </a:p>
          <a:p>
            <a:pPr marL="355600" marR="508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Explain</a:t>
            </a:r>
            <a:r>
              <a:rPr sz="2400" spc="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who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the interdisciplinary</a:t>
            </a:r>
            <a:r>
              <a:rPr sz="2400" spc="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are team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(ICT)</a:t>
            </a:r>
            <a:r>
              <a:rPr sz="24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mbers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re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&amp;</a:t>
            </a:r>
            <a:r>
              <a:rPr sz="24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their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roles </a:t>
            </a:r>
            <a:r>
              <a:rPr sz="2400" spc="-6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n the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development</a:t>
            </a:r>
            <a:r>
              <a:rPr sz="2400" spc="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ndividualized</a:t>
            </a:r>
            <a:r>
              <a:rPr sz="2400" spc="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are plan</a:t>
            </a:r>
            <a:r>
              <a:rPr sz="2400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(ICP)</a:t>
            </a:r>
            <a:endParaRPr sz="2400">
              <a:latin typeface="Arial"/>
              <a:cs typeface="Arial"/>
            </a:endParaRPr>
          </a:p>
          <a:p>
            <a:pPr marL="355600" marR="395605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Describe</a:t>
            </a:r>
            <a:r>
              <a:rPr sz="24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4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role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f the</a:t>
            </a:r>
            <a:r>
              <a:rPr sz="24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are manager</a:t>
            </a:r>
            <a:r>
              <a:rPr sz="24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&amp;</a:t>
            </a:r>
            <a:r>
              <a:rPr sz="24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provider</a:t>
            </a:r>
            <a:r>
              <a:rPr sz="24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n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4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transition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f care </a:t>
            </a:r>
            <a:r>
              <a:rPr sz="2400" spc="-6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(TOC)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Describe</a:t>
            </a:r>
            <a:r>
              <a:rPr sz="24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food programs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&amp;</a:t>
            </a:r>
            <a:r>
              <a:rPr sz="24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ther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benefits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for</a:t>
            </a:r>
            <a:r>
              <a:rPr sz="24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dicare</a:t>
            </a:r>
            <a:r>
              <a:rPr sz="24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mbers</a:t>
            </a:r>
            <a:endParaRPr sz="2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6076188"/>
            <a:ext cx="12192000" cy="782320"/>
          </a:xfrm>
          <a:custGeom>
            <a:avLst/>
            <a:gdLst/>
            <a:ahLst/>
            <a:cxnLst/>
            <a:rect l="l" t="t" r="r" b="b"/>
            <a:pathLst>
              <a:path w="12192000" h="782320">
                <a:moveTo>
                  <a:pt x="12192000" y="0"/>
                </a:moveTo>
                <a:lnTo>
                  <a:pt x="0" y="0"/>
                </a:lnTo>
                <a:lnTo>
                  <a:pt x="0" y="781812"/>
                </a:lnTo>
                <a:lnTo>
                  <a:pt x="12192000" y="781812"/>
                </a:lnTo>
                <a:lnTo>
                  <a:pt x="12192000" y="0"/>
                </a:lnTo>
                <a:close/>
              </a:path>
            </a:pathLst>
          </a:custGeom>
          <a:solidFill>
            <a:srgbClr val="FFCF3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419100" y="1093977"/>
            <a:ext cx="11391900" cy="12700"/>
            <a:chOff x="419100" y="1093977"/>
            <a:chExt cx="11391900" cy="12700"/>
          </a:xfrm>
        </p:grpSpPr>
        <p:sp>
          <p:nvSpPr>
            <p:cNvPr id="4" name="object 4"/>
            <p:cNvSpPr/>
            <p:nvPr/>
          </p:nvSpPr>
          <p:spPr>
            <a:xfrm>
              <a:off x="457200" y="1093977"/>
              <a:ext cx="11353800" cy="12700"/>
            </a:xfrm>
            <a:custGeom>
              <a:avLst/>
              <a:gdLst/>
              <a:ahLst/>
              <a:cxnLst/>
              <a:rect l="l" t="t" r="r" b="b"/>
              <a:pathLst>
                <a:path w="11353800" h="12700">
                  <a:moveTo>
                    <a:pt x="11353800" y="0"/>
                  </a:moveTo>
                  <a:lnTo>
                    <a:pt x="0" y="0"/>
                  </a:lnTo>
                  <a:lnTo>
                    <a:pt x="0" y="12700"/>
                  </a:lnTo>
                  <a:lnTo>
                    <a:pt x="11353800" y="12700"/>
                  </a:lnTo>
                  <a:lnTo>
                    <a:pt x="11353800" y="0"/>
                  </a:lnTo>
                  <a:close/>
                </a:path>
              </a:pathLst>
            </a:custGeom>
            <a:solidFill>
              <a:srgbClr val="BE9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19100" y="1100327"/>
              <a:ext cx="11353800" cy="0"/>
            </a:xfrm>
            <a:custGeom>
              <a:avLst/>
              <a:gdLst/>
              <a:ahLst/>
              <a:cxnLst/>
              <a:rect l="l" t="t" r="r" b="b"/>
              <a:pathLst>
                <a:path w="11353800">
                  <a:moveTo>
                    <a:pt x="0" y="0"/>
                  </a:moveTo>
                  <a:lnTo>
                    <a:pt x="11353800" y="0"/>
                  </a:lnTo>
                </a:path>
              </a:pathLst>
            </a:custGeom>
            <a:ln w="12700">
              <a:solidFill>
                <a:srgbClr val="FFD02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8872" y="6080759"/>
            <a:ext cx="3404615" cy="777239"/>
          </a:xfrm>
          <a:prstGeom prst="rect">
            <a:avLst/>
          </a:prstGeom>
        </p:spPr>
      </p:pic>
      <p:grpSp>
        <p:nvGrpSpPr>
          <p:cNvPr id="7" name="object 7"/>
          <p:cNvGrpSpPr/>
          <p:nvPr/>
        </p:nvGrpSpPr>
        <p:grpSpPr>
          <a:xfrm>
            <a:off x="6336791" y="1520952"/>
            <a:ext cx="5855335" cy="3554095"/>
            <a:chOff x="6336791" y="1520952"/>
            <a:chExt cx="5855335" cy="3554095"/>
          </a:xfrm>
        </p:grpSpPr>
        <p:pic>
          <p:nvPicPr>
            <p:cNvPr id="8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336791" y="1520952"/>
              <a:ext cx="5855208" cy="3553967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531863" y="1716024"/>
              <a:ext cx="5326379" cy="2965703"/>
            </a:xfrm>
            <a:prstGeom prst="rect">
              <a:avLst/>
            </a:prstGeom>
          </p:spPr>
        </p:pic>
      </p:grpSp>
      <p:sp>
        <p:nvSpPr>
          <p:cNvPr id="10" name="object 10"/>
          <p:cNvSpPr txBox="1"/>
          <p:nvPr/>
        </p:nvSpPr>
        <p:spPr>
          <a:xfrm>
            <a:off x="517888" y="1741712"/>
            <a:ext cx="5802630" cy="33794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99085" marR="5080" indent="-286385">
              <a:lnSpc>
                <a:spcPct val="100000"/>
              </a:lnSpc>
              <a:spcBef>
                <a:spcPts val="105"/>
              </a:spcBef>
              <a:buClr>
                <a:srgbClr val="00070E"/>
              </a:buClr>
              <a:buFont typeface="Arial"/>
              <a:buChar char="•"/>
              <a:tabLst>
                <a:tab pos="299085" algn="l"/>
                <a:tab pos="299720" algn="l"/>
              </a:tabLst>
            </a:pP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Nat</a:t>
            </a: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ion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sBe</a:t>
            </a: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n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ef</a:t>
            </a: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i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t</a:t>
            </a:r>
            <a:r>
              <a:rPr sz="2000" b="1" spc="-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F</a:t>
            </a: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l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ex</a:t>
            </a:r>
            <a:r>
              <a:rPr sz="2000" b="1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Ca</a:t>
            </a: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rd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:</a:t>
            </a:r>
            <a:r>
              <a:rPr sz="2000" b="1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M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ed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i</a:t>
            </a:r>
            <a:r>
              <a:rPr sz="2000" spc="5" dirty="0">
                <a:solidFill>
                  <a:srgbClr val="00070E"/>
                </a:solidFill>
                <a:latin typeface="Arial"/>
                <a:cs typeface="Arial"/>
              </a:rPr>
              <a:t>c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re</a:t>
            </a:r>
            <a:r>
              <a:rPr sz="2000" spc="-1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A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d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v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n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t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ge  and UltraCare members receive $155/month </a:t>
            </a:r>
            <a:r>
              <a:rPr sz="20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worth of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Flex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ard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benefit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at can be used to </a:t>
            </a:r>
            <a:r>
              <a:rPr sz="20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purchase</a:t>
            </a:r>
            <a:r>
              <a:rPr sz="2000" spc="-6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groceries</a:t>
            </a:r>
            <a:endParaRPr sz="20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40"/>
              </a:spcBef>
              <a:buClr>
                <a:srgbClr val="00070E"/>
              </a:buClr>
              <a:buFont typeface="Arial"/>
              <a:buChar char="•"/>
            </a:pPr>
            <a:endParaRPr sz="2050">
              <a:latin typeface="Arial"/>
              <a:cs typeface="Arial"/>
            </a:endParaRPr>
          </a:p>
          <a:p>
            <a:pPr marL="299085" marR="53340" indent="-287020">
              <a:lnSpc>
                <a:spcPct val="100000"/>
              </a:lnSpc>
              <a:buFont typeface="Arial"/>
              <a:buChar char="•"/>
              <a:tabLst>
                <a:tab pos="299085" algn="l"/>
                <a:tab pos="299720" algn="l"/>
              </a:tabLst>
            </a:pP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Nutritional/Dietary</a:t>
            </a:r>
            <a:r>
              <a:rPr sz="2000" b="1" spc="-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counseling</a:t>
            </a:r>
            <a:r>
              <a:rPr sz="2000" b="1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benefit:</a:t>
            </a:r>
            <a:r>
              <a:rPr sz="2000" b="1" spc="-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6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visits </a:t>
            </a:r>
            <a:r>
              <a:rPr sz="2000" spc="-5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per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year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with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 registered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dietician</a:t>
            </a:r>
            <a:endParaRPr sz="20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45"/>
              </a:spcBef>
              <a:buClr>
                <a:srgbClr val="00070E"/>
              </a:buClr>
              <a:buFont typeface="Arial"/>
              <a:buChar char="•"/>
            </a:pPr>
            <a:endParaRPr sz="2050">
              <a:latin typeface="Arial"/>
              <a:cs typeface="Arial"/>
            </a:endParaRPr>
          </a:p>
          <a:p>
            <a:pPr marL="299085" marR="123825" indent="-287020">
              <a:lnSpc>
                <a:spcPct val="100000"/>
              </a:lnSpc>
              <a:buFont typeface="Arial"/>
              <a:buChar char="•"/>
              <a:tabLst>
                <a:tab pos="299085" algn="l"/>
                <a:tab pos="299720" algn="l"/>
              </a:tabLst>
            </a:pP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Discharge </a:t>
            </a: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Medically </a:t>
            </a:r>
            <a:r>
              <a:rPr sz="2000" b="1" spc="-20" dirty="0">
                <a:solidFill>
                  <a:srgbClr val="00070E"/>
                </a:solidFill>
                <a:latin typeface="Arial"/>
                <a:cs typeface="Arial"/>
              </a:rPr>
              <a:t>Tailored 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Meals </a:t>
            </a:r>
            <a:r>
              <a:rPr sz="20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(Discharge</a:t>
            </a:r>
            <a:r>
              <a:rPr sz="2000" b="1" spc="-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MTM):</a:t>
            </a:r>
            <a:r>
              <a:rPr sz="2000" b="1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Partnership</a:t>
            </a:r>
            <a:r>
              <a:rPr sz="2000" spc="-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with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God’s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Love </a:t>
            </a:r>
            <a:r>
              <a:rPr sz="2000" spc="-5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We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Deliver;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See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 next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slide</a:t>
            </a:r>
            <a:endParaRPr sz="2000">
              <a:latin typeface="Arial"/>
              <a:cs typeface="Arial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20</a:t>
            </a:fld>
            <a:endParaRPr dirty="0"/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457200" y="592613"/>
            <a:ext cx="445770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u="none" dirty="0"/>
              <a:t>FOOD</a:t>
            </a:r>
            <a:r>
              <a:rPr sz="2400" u="none" spc="-50" dirty="0"/>
              <a:t> </a:t>
            </a:r>
            <a:r>
              <a:rPr sz="2400" u="none" spc="-5" dirty="0"/>
              <a:t>PROGRAMS</a:t>
            </a:r>
            <a:r>
              <a:rPr sz="2400" u="none" spc="-20" dirty="0"/>
              <a:t> </a:t>
            </a:r>
            <a:r>
              <a:rPr sz="2400" u="none" dirty="0"/>
              <a:t>WE</a:t>
            </a:r>
            <a:r>
              <a:rPr sz="2400" u="none" spc="-40" dirty="0"/>
              <a:t> </a:t>
            </a:r>
            <a:r>
              <a:rPr sz="2400" u="none" spc="-5" dirty="0"/>
              <a:t>OFFER</a:t>
            </a:r>
            <a:endParaRPr sz="240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05"/>
              </a:spcBef>
              <a:tabLst>
                <a:tab pos="11365865" algn="l"/>
              </a:tabLst>
            </a:pPr>
            <a:r>
              <a:rPr dirty="0"/>
              <a:t>DISCHARGE</a:t>
            </a:r>
            <a:r>
              <a:rPr spc="-50" dirty="0"/>
              <a:t> </a:t>
            </a:r>
            <a:r>
              <a:rPr spc="-30" dirty="0"/>
              <a:t>MEDICALLY</a:t>
            </a:r>
            <a:r>
              <a:rPr spc="-135" dirty="0"/>
              <a:t> </a:t>
            </a:r>
            <a:r>
              <a:rPr spc="-35" dirty="0"/>
              <a:t>TAILORED</a:t>
            </a:r>
            <a:r>
              <a:rPr spc="-30" dirty="0"/>
              <a:t> </a:t>
            </a:r>
            <a:r>
              <a:rPr spc="-5" dirty="0"/>
              <a:t>MEALS	</a:t>
            </a:r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21</a:t>
            </a:fld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444245" y="1351280"/>
            <a:ext cx="10894695" cy="36836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Overview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0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benefit:</a:t>
            </a:r>
            <a:r>
              <a:rPr sz="2000" b="1" spc="-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mbers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receive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10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days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worth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pre-made</a:t>
            </a:r>
            <a:r>
              <a:rPr sz="2000" spc="-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nutritious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als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post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hospital </a:t>
            </a:r>
            <a:r>
              <a:rPr sz="2000" spc="-5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discharge</a:t>
            </a:r>
            <a:r>
              <a:rPr sz="2000" spc="-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(20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als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total,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lunch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dinner)</a:t>
            </a:r>
            <a:endParaRPr sz="20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195"/>
              </a:spcBef>
            </a:pP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Qua</a:t>
            </a: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li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f</a:t>
            </a:r>
            <a:r>
              <a:rPr sz="2000" b="1" spc="-35" dirty="0">
                <a:solidFill>
                  <a:srgbClr val="00070E"/>
                </a:solidFill>
                <a:latin typeface="Arial"/>
                <a:cs typeface="Arial"/>
              </a:rPr>
              <a:t>y</a:t>
            </a: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i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ng</a:t>
            </a: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p</a:t>
            </a: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l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ans:</a:t>
            </a:r>
            <a:r>
              <a:rPr sz="2000" b="1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M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e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t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ro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Pl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u</a:t>
            </a:r>
            <a:r>
              <a:rPr sz="2000" spc="5" dirty="0">
                <a:solidFill>
                  <a:srgbClr val="00070E"/>
                </a:solidFill>
                <a:latin typeface="Arial"/>
                <a:cs typeface="Arial"/>
              </a:rPr>
              <a:t>s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Hea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lt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h</a:t>
            </a:r>
            <a:r>
              <a:rPr sz="2000" spc="-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M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ed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i</a:t>
            </a:r>
            <a:r>
              <a:rPr sz="2000" spc="5" dirty="0">
                <a:solidFill>
                  <a:srgbClr val="00070E"/>
                </a:solidFill>
                <a:latin typeface="Arial"/>
                <a:cs typeface="Arial"/>
              </a:rPr>
              <a:t>c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re</a:t>
            </a:r>
            <a:r>
              <a:rPr sz="2000" spc="-1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A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d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v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n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t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ge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U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lt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raCare</a:t>
            </a:r>
            <a:endParaRPr sz="20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200"/>
              </a:spcBef>
            </a:pP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Qualifying</a:t>
            </a:r>
            <a:r>
              <a:rPr sz="2000" b="1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070E"/>
                </a:solidFill>
                <a:latin typeface="Arial"/>
                <a:cs typeface="Arial"/>
              </a:rPr>
              <a:t>condition:</a:t>
            </a:r>
            <a:r>
              <a:rPr sz="2000" b="1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hronic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disease</a:t>
            </a:r>
            <a:endParaRPr sz="20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200"/>
              </a:spcBef>
            </a:pP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Eligibility</a:t>
            </a:r>
            <a:r>
              <a:rPr sz="2000" b="1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b="1" spc="-5" dirty="0">
                <a:solidFill>
                  <a:srgbClr val="00070E"/>
                </a:solidFill>
                <a:latin typeface="Arial"/>
                <a:cs typeface="Arial"/>
              </a:rPr>
              <a:t>requirements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Discharged</a:t>
            </a:r>
            <a:r>
              <a:rPr sz="2000" spc="-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from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hospital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within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last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30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days</a:t>
            </a:r>
            <a:endParaRPr sz="200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Additional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 screening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riteria: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refrigerator</a:t>
            </a:r>
            <a:r>
              <a:rPr sz="2000" spc="-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store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als,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stove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or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icrowave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heat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als</a:t>
            </a:r>
            <a:endParaRPr sz="2000">
              <a:latin typeface="Arial"/>
              <a:cs typeface="Arial"/>
            </a:endParaRPr>
          </a:p>
          <a:p>
            <a:pPr marL="12700" marR="438150">
              <a:lnSpc>
                <a:spcPct val="100000"/>
              </a:lnSpc>
              <a:spcBef>
                <a:spcPts val="1200"/>
              </a:spcBef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mbers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re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required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20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hoose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one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 following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 pre-made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options: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standard,</a:t>
            </a:r>
            <a:r>
              <a:rPr sz="2000" spc="-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dialysis,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or </a:t>
            </a:r>
            <a:r>
              <a:rPr sz="2000" spc="-5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vegetarian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3" name="object 3"/>
            <p:cNvSpPr/>
            <p:nvPr/>
          </p:nvSpPr>
          <p:spPr>
            <a:xfrm>
              <a:off x="0" y="0"/>
              <a:ext cx="12192000" cy="6179820"/>
            </a:xfrm>
            <a:custGeom>
              <a:avLst/>
              <a:gdLst/>
              <a:ahLst/>
              <a:cxnLst/>
              <a:rect l="l" t="t" r="r" b="b"/>
              <a:pathLst>
                <a:path w="12192000" h="6179820">
                  <a:moveTo>
                    <a:pt x="12192000" y="0"/>
                  </a:moveTo>
                  <a:lnTo>
                    <a:pt x="0" y="0"/>
                  </a:lnTo>
                  <a:lnTo>
                    <a:pt x="0" y="6179820"/>
                  </a:lnTo>
                  <a:lnTo>
                    <a:pt x="12192000" y="6179820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FFCF3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1525521" y="2218944"/>
              <a:ext cx="2209800" cy="2011680"/>
            </a:xfrm>
            <a:custGeom>
              <a:avLst/>
              <a:gdLst/>
              <a:ahLst/>
              <a:cxnLst/>
              <a:rect l="l" t="t" r="r" b="b"/>
              <a:pathLst>
                <a:path w="2209800" h="2011679">
                  <a:moveTo>
                    <a:pt x="2209800" y="0"/>
                  </a:moveTo>
                  <a:lnTo>
                    <a:pt x="1654746" y="0"/>
                  </a:lnTo>
                  <a:lnTo>
                    <a:pt x="594144" y="1467281"/>
                  </a:lnTo>
                  <a:lnTo>
                    <a:pt x="281444" y="1029169"/>
                  </a:lnTo>
                  <a:lnTo>
                    <a:pt x="0" y="1410246"/>
                  </a:lnTo>
                  <a:lnTo>
                    <a:pt x="424764" y="2011680"/>
                  </a:lnTo>
                  <a:lnTo>
                    <a:pt x="776554" y="2009089"/>
                  </a:lnTo>
                  <a:lnTo>
                    <a:pt x="2209800" y="0"/>
                  </a:ln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3913146" y="2208420"/>
            <a:ext cx="5278120" cy="1854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6000" u="none" dirty="0"/>
              <a:t>Other</a:t>
            </a:r>
            <a:r>
              <a:rPr sz="6000" u="none" spc="-80" dirty="0"/>
              <a:t> </a:t>
            </a:r>
            <a:r>
              <a:rPr sz="6000" u="none" spc="-5" dirty="0"/>
              <a:t>Medicare </a:t>
            </a:r>
            <a:r>
              <a:rPr sz="6000" u="none" spc="-1655" dirty="0"/>
              <a:t> </a:t>
            </a:r>
            <a:r>
              <a:rPr sz="6000" u="none" spc="-10" dirty="0"/>
              <a:t>Benefit</a:t>
            </a:r>
            <a:endParaRPr sz="6000"/>
          </a:p>
        </p:txBody>
      </p:sp>
      <p:sp>
        <p:nvSpPr>
          <p:cNvPr id="6" name="object 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22</a:t>
            </a:fld>
            <a:endParaRPr dirty="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076315"/>
          </a:xfrm>
          <a:custGeom>
            <a:avLst/>
            <a:gdLst/>
            <a:ahLst/>
            <a:cxnLst/>
            <a:rect l="l" t="t" r="r" b="b"/>
            <a:pathLst>
              <a:path w="12192000" h="6076315">
                <a:moveTo>
                  <a:pt x="0" y="6076188"/>
                </a:moveTo>
                <a:lnTo>
                  <a:pt x="12192000" y="6076188"/>
                </a:lnTo>
                <a:lnTo>
                  <a:pt x="12192000" y="0"/>
                </a:lnTo>
                <a:lnTo>
                  <a:pt x="0" y="0"/>
                </a:lnTo>
                <a:lnTo>
                  <a:pt x="0" y="6076188"/>
                </a:lnTo>
                <a:close/>
              </a:path>
            </a:pathLst>
          </a:custGeom>
          <a:solidFill>
            <a:srgbClr val="00070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6076188"/>
            <a:ext cx="12192000" cy="782320"/>
          </a:xfrm>
          <a:custGeom>
            <a:avLst/>
            <a:gdLst/>
            <a:ahLst/>
            <a:cxnLst/>
            <a:rect l="l" t="t" r="r" b="b"/>
            <a:pathLst>
              <a:path w="12192000" h="782320">
                <a:moveTo>
                  <a:pt x="12192000" y="0"/>
                </a:moveTo>
                <a:lnTo>
                  <a:pt x="0" y="0"/>
                </a:lnTo>
                <a:lnTo>
                  <a:pt x="0" y="781812"/>
                </a:lnTo>
                <a:lnTo>
                  <a:pt x="12192000" y="781812"/>
                </a:lnTo>
                <a:lnTo>
                  <a:pt x="12192000" y="0"/>
                </a:lnTo>
                <a:close/>
              </a:path>
            </a:pathLst>
          </a:custGeom>
          <a:solidFill>
            <a:srgbClr val="FFCF3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" name="object 4"/>
          <p:cNvGrpSpPr/>
          <p:nvPr/>
        </p:nvGrpSpPr>
        <p:grpSpPr>
          <a:xfrm>
            <a:off x="419100" y="1093977"/>
            <a:ext cx="11391900" cy="12700"/>
            <a:chOff x="419100" y="1093977"/>
            <a:chExt cx="11391900" cy="12700"/>
          </a:xfrm>
        </p:grpSpPr>
        <p:sp>
          <p:nvSpPr>
            <p:cNvPr id="5" name="object 5"/>
            <p:cNvSpPr/>
            <p:nvPr/>
          </p:nvSpPr>
          <p:spPr>
            <a:xfrm>
              <a:off x="457200" y="1093977"/>
              <a:ext cx="11353800" cy="12700"/>
            </a:xfrm>
            <a:custGeom>
              <a:avLst/>
              <a:gdLst/>
              <a:ahLst/>
              <a:cxnLst/>
              <a:rect l="l" t="t" r="r" b="b"/>
              <a:pathLst>
                <a:path w="11353800" h="12700">
                  <a:moveTo>
                    <a:pt x="11353800" y="0"/>
                  </a:moveTo>
                  <a:lnTo>
                    <a:pt x="0" y="0"/>
                  </a:lnTo>
                  <a:lnTo>
                    <a:pt x="0" y="12700"/>
                  </a:lnTo>
                  <a:lnTo>
                    <a:pt x="11353800" y="12700"/>
                  </a:lnTo>
                  <a:lnTo>
                    <a:pt x="11353800" y="0"/>
                  </a:lnTo>
                  <a:close/>
                </a:path>
              </a:pathLst>
            </a:custGeom>
            <a:solidFill>
              <a:srgbClr val="BE9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419100" y="1100327"/>
              <a:ext cx="11353800" cy="0"/>
            </a:xfrm>
            <a:custGeom>
              <a:avLst/>
              <a:gdLst/>
              <a:ahLst/>
              <a:cxnLst/>
              <a:rect l="l" t="t" r="r" b="b"/>
              <a:pathLst>
                <a:path w="11353800">
                  <a:moveTo>
                    <a:pt x="0" y="0"/>
                  </a:moveTo>
                  <a:lnTo>
                    <a:pt x="11353800" y="0"/>
                  </a:lnTo>
                </a:path>
              </a:pathLst>
            </a:custGeom>
            <a:ln w="12700">
              <a:solidFill>
                <a:srgbClr val="FFD02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8872" y="6080759"/>
            <a:ext cx="3404615" cy="777239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481510" y="4325101"/>
            <a:ext cx="3710940" cy="953135"/>
          </a:xfrm>
          <a:prstGeom prst="rect">
            <a:avLst/>
          </a:prstGeom>
        </p:spPr>
        <p:txBody>
          <a:bodyPr vert="horz" wrap="square" lIns="0" tIns="679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535"/>
              </a:spcBef>
            </a:pPr>
            <a:r>
              <a:rPr sz="3200" dirty="0">
                <a:solidFill>
                  <a:srgbClr val="FFFFFF"/>
                </a:solidFill>
                <a:latin typeface="Arial"/>
                <a:cs typeface="Arial"/>
              </a:rPr>
              <a:t>NON-EMERGENCY </a:t>
            </a:r>
            <a:r>
              <a:rPr sz="3200" spc="-87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3200" spc="-5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3200" dirty="0">
                <a:solidFill>
                  <a:srgbClr val="FFFFFF"/>
                </a:solidFill>
                <a:latin typeface="Arial"/>
                <a:cs typeface="Arial"/>
              </a:rPr>
              <a:t>RANSPO</a:t>
            </a:r>
            <a:r>
              <a:rPr sz="3200" spc="-60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3200" spc="-245" dirty="0">
                <a:solidFill>
                  <a:srgbClr val="FFFFFF"/>
                </a:solidFill>
                <a:latin typeface="Arial"/>
                <a:cs typeface="Arial"/>
              </a:rPr>
              <a:t>TA</a:t>
            </a:r>
            <a:r>
              <a:rPr sz="3200" spc="-5" dirty="0">
                <a:solidFill>
                  <a:srgbClr val="FFFFFF"/>
                </a:solidFill>
                <a:latin typeface="Arial"/>
                <a:cs typeface="Arial"/>
              </a:rPr>
              <a:t>TI</a:t>
            </a:r>
            <a:r>
              <a:rPr sz="3200" dirty="0">
                <a:solidFill>
                  <a:srgbClr val="FFFFFF"/>
                </a:solidFill>
                <a:latin typeface="Arial"/>
                <a:cs typeface="Arial"/>
              </a:rPr>
              <a:t>ON</a:t>
            </a:r>
            <a:endParaRPr sz="3200">
              <a:latin typeface="Arial"/>
              <a:cs typeface="Arial"/>
            </a:endParaRPr>
          </a:p>
        </p:txBody>
      </p:sp>
      <p:pic>
        <p:nvPicPr>
          <p:cNvPr id="9" name="object 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12191873" cy="3696633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4607196" y="3864855"/>
            <a:ext cx="7005320" cy="11226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solidFill>
                  <a:srgbClr val="FFFFFF"/>
                </a:solidFill>
                <a:latin typeface="Arial"/>
                <a:cs typeface="Arial"/>
              </a:rPr>
              <a:t>In</a:t>
            </a:r>
            <a:r>
              <a:rPr sz="2400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2024,</a:t>
            </a:r>
            <a:r>
              <a:rPr sz="24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our</a:t>
            </a:r>
            <a:r>
              <a:rPr sz="2400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Medicare</a:t>
            </a:r>
            <a:r>
              <a:rPr sz="2400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plans</a:t>
            </a:r>
            <a:r>
              <a:rPr sz="2400" spc="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FFFFFF"/>
                </a:solidFill>
                <a:latin typeface="Arial"/>
                <a:cs typeface="Arial"/>
              </a:rPr>
              <a:t>offer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48</a:t>
            </a:r>
            <a:r>
              <a:rPr sz="24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one-way</a:t>
            </a:r>
            <a:r>
              <a:rPr sz="2400" spc="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trips </a:t>
            </a:r>
            <a:r>
              <a:rPr sz="2400" dirty="0">
                <a:solidFill>
                  <a:srgbClr val="FFFFFF"/>
                </a:solidFill>
                <a:latin typeface="Arial"/>
                <a:cs typeface="Arial"/>
              </a:rPr>
              <a:t> for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non-emergency transportation </a:t>
            </a:r>
            <a:r>
              <a:rPr sz="2400" dirty="0">
                <a:solidFill>
                  <a:srgbClr val="FFFFFF"/>
                </a:solidFill>
                <a:latin typeface="Arial"/>
                <a:cs typeface="Arial"/>
              </a:rPr>
              <a:t>for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plan-approved </a:t>
            </a:r>
            <a:r>
              <a:rPr sz="2400" spc="-65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health-related</a:t>
            </a:r>
            <a:r>
              <a:rPr sz="2400" spc="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FFFFFF"/>
                </a:solidFill>
                <a:latin typeface="Arial"/>
                <a:cs typeface="Arial"/>
              </a:rPr>
              <a:t>locations</a:t>
            </a:r>
            <a:endParaRPr sz="24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1321286" y="6463728"/>
            <a:ext cx="23177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23</a:t>
            </a:fld>
            <a:endParaRPr sz="120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721496" y="5038335"/>
            <a:ext cx="6716395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99085" marR="5080" indent="-287020">
              <a:lnSpc>
                <a:spcPct val="100000"/>
              </a:lnSpc>
              <a:spcBef>
                <a:spcPts val="100"/>
              </a:spcBef>
              <a:buClr>
                <a:srgbClr val="FFCF30"/>
              </a:buClr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This</a:t>
            </a:r>
            <a:r>
              <a:rPr sz="24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is</a:t>
            </a:r>
            <a:r>
              <a:rPr sz="24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an increase</a:t>
            </a:r>
            <a:r>
              <a:rPr sz="2400" spc="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of</a:t>
            </a:r>
            <a:r>
              <a:rPr sz="2400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34 trips</a:t>
            </a:r>
            <a:r>
              <a:rPr sz="2400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over</a:t>
            </a:r>
            <a:r>
              <a:rPr sz="24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2023</a:t>
            </a:r>
            <a:r>
              <a:rPr sz="2400" spc="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benefit </a:t>
            </a:r>
            <a:r>
              <a:rPr sz="2400" spc="-65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(14 trips</a:t>
            </a:r>
            <a:r>
              <a:rPr sz="2400" spc="-10" dirty="0">
                <a:solidFill>
                  <a:srgbClr val="FFFFFF"/>
                </a:solidFill>
                <a:latin typeface="Arial"/>
                <a:cs typeface="Arial"/>
              </a:rPr>
              <a:t> offered</a:t>
            </a:r>
            <a:r>
              <a:rPr sz="24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in 2023)</a:t>
            </a:r>
            <a:endParaRPr sz="2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05"/>
              </a:spcBef>
              <a:tabLst>
                <a:tab pos="11365865" algn="l"/>
              </a:tabLst>
            </a:pPr>
            <a:r>
              <a:rPr dirty="0"/>
              <a:t>SDoH</a:t>
            </a:r>
            <a:r>
              <a:rPr spc="-100" dirty="0"/>
              <a:t> </a:t>
            </a:r>
            <a:r>
              <a:rPr dirty="0"/>
              <a:t>QUESTIONS?	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11321286" y="6463728"/>
            <a:ext cx="23177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24</a:t>
            </a:fld>
            <a:endParaRPr sz="120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44500" y="1198879"/>
            <a:ext cx="4778375" cy="1945639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0"/>
              </a:spcBef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ontact us</a:t>
            </a:r>
            <a:r>
              <a:rPr sz="24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t:</a:t>
            </a:r>
            <a:endParaRPr sz="2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200"/>
              </a:spcBef>
            </a:pPr>
            <a:r>
              <a:rPr sz="2400" b="1" u="heavy" spc="-5" dirty="0">
                <a:solidFill>
                  <a:srgbClr val="9C6025"/>
                </a:solidFill>
                <a:uFill>
                  <a:solidFill>
                    <a:srgbClr val="9C6025"/>
                  </a:solidFill>
                </a:uFill>
                <a:latin typeface="Arial"/>
                <a:cs typeface="Arial"/>
                <a:hlinkClick r:id="rId2"/>
              </a:rPr>
              <a:t>foodprograms@metroplus.org</a:t>
            </a:r>
            <a:endParaRPr sz="2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35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2400" b="1" u="heavy" spc="-5" dirty="0">
                <a:solidFill>
                  <a:srgbClr val="9C6025"/>
                </a:solidFill>
                <a:uFill>
                  <a:solidFill>
                    <a:srgbClr val="9C6025"/>
                  </a:solidFill>
                </a:uFill>
                <a:latin typeface="Arial"/>
                <a:cs typeface="Arial"/>
                <a:hlinkClick r:id="rId3"/>
              </a:rPr>
              <a:t>healthpromotion@metroplus.org</a:t>
            </a:r>
            <a:endParaRPr sz="2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6076188"/>
            <a:ext cx="12192000" cy="782320"/>
          </a:xfrm>
          <a:custGeom>
            <a:avLst/>
            <a:gdLst/>
            <a:ahLst/>
            <a:cxnLst/>
            <a:rect l="l" t="t" r="r" b="b"/>
            <a:pathLst>
              <a:path w="12192000" h="782320">
                <a:moveTo>
                  <a:pt x="12192000" y="0"/>
                </a:moveTo>
                <a:lnTo>
                  <a:pt x="0" y="0"/>
                </a:lnTo>
                <a:lnTo>
                  <a:pt x="0" y="781812"/>
                </a:lnTo>
                <a:lnTo>
                  <a:pt x="12192000" y="781812"/>
                </a:lnTo>
                <a:lnTo>
                  <a:pt x="12192000" y="0"/>
                </a:lnTo>
                <a:close/>
              </a:path>
            </a:pathLst>
          </a:custGeom>
          <a:solidFill>
            <a:srgbClr val="FFCF3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419100" y="1093977"/>
            <a:ext cx="11391900" cy="12700"/>
            <a:chOff x="419100" y="1093977"/>
            <a:chExt cx="11391900" cy="12700"/>
          </a:xfrm>
        </p:grpSpPr>
        <p:sp>
          <p:nvSpPr>
            <p:cNvPr id="4" name="object 4"/>
            <p:cNvSpPr/>
            <p:nvPr/>
          </p:nvSpPr>
          <p:spPr>
            <a:xfrm>
              <a:off x="457200" y="1093977"/>
              <a:ext cx="11353800" cy="12700"/>
            </a:xfrm>
            <a:custGeom>
              <a:avLst/>
              <a:gdLst/>
              <a:ahLst/>
              <a:cxnLst/>
              <a:rect l="l" t="t" r="r" b="b"/>
              <a:pathLst>
                <a:path w="11353800" h="12700">
                  <a:moveTo>
                    <a:pt x="11353800" y="0"/>
                  </a:moveTo>
                  <a:lnTo>
                    <a:pt x="0" y="0"/>
                  </a:lnTo>
                  <a:lnTo>
                    <a:pt x="0" y="12700"/>
                  </a:lnTo>
                  <a:lnTo>
                    <a:pt x="11353800" y="12700"/>
                  </a:lnTo>
                  <a:lnTo>
                    <a:pt x="11353800" y="0"/>
                  </a:lnTo>
                  <a:close/>
                </a:path>
              </a:pathLst>
            </a:custGeom>
            <a:solidFill>
              <a:srgbClr val="BE9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19100" y="1100327"/>
              <a:ext cx="11353800" cy="0"/>
            </a:xfrm>
            <a:custGeom>
              <a:avLst/>
              <a:gdLst/>
              <a:ahLst/>
              <a:cxnLst/>
              <a:rect l="l" t="t" r="r" b="b"/>
              <a:pathLst>
                <a:path w="11353800">
                  <a:moveTo>
                    <a:pt x="0" y="0"/>
                  </a:moveTo>
                  <a:lnTo>
                    <a:pt x="11353800" y="0"/>
                  </a:lnTo>
                </a:path>
              </a:pathLst>
            </a:custGeom>
            <a:ln w="12700">
              <a:solidFill>
                <a:srgbClr val="FFD02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8872" y="6080759"/>
            <a:ext cx="3404615" cy="777239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12173710" cy="6857999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11321286" y="6463728"/>
            <a:ext cx="23177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25</a:t>
            </a:fld>
            <a:endParaRPr sz="12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FCF3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104644" y="704087"/>
            <a:ext cx="8011667" cy="4978907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6526635" y="4739843"/>
            <a:ext cx="2741930" cy="559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500" spc="-5" dirty="0">
                <a:solidFill>
                  <a:srgbClr val="FFFFFF"/>
                </a:solidFill>
                <a:latin typeface="Arial"/>
                <a:cs typeface="Arial"/>
              </a:rPr>
              <a:t>metroplus.org</a:t>
            </a:r>
            <a:endParaRPr sz="35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05"/>
              </a:spcBef>
              <a:tabLst>
                <a:tab pos="11365865" algn="l"/>
              </a:tabLst>
            </a:pPr>
            <a:r>
              <a:rPr dirty="0"/>
              <a:t>WHY</a:t>
            </a:r>
            <a:r>
              <a:rPr spc="-80" dirty="0"/>
              <a:t> </a:t>
            </a:r>
            <a:r>
              <a:rPr dirty="0"/>
              <a:t>DO</a:t>
            </a:r>
            <a:r>
              <a:rPr spc="-30" dirty="0"/>
              <a:t> </a:t>
            </a:r>
            <a:r>
              <a:rPr dirty="0"/>
              <a:t>WE</a:t>
            </a:r>
            <a:r>
              <a:rPr spc="-15" dirty="0"/>
              <a:t> </a:t>
            </a:r>
            <a:r>
              <a:rPr dirty="0"/>
              <a:t>PROVIDE</a:t>
            </a:r>
            <a:r>
              <a:rPr spc="-90" dirty="0"/>
              <a:t> </a:t>
            </a:r>
            <a:r>
              <a:rPr spc="-5" dirty="0"/>
              <a:t>THIS</a:t>
            </a:r>
            <a:r>
              <a:rPr spc="-75" dirty="0"/>
              <a:t> </a:t>
            </a:r>
            <a:r>
              <a:rPr dirty="0"/>
              <a:t>TRAINING?	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46617" y="1677339"/>
            <a:ext cx="11278235" cy="414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55600" marR="241300" indent="-343535">
              <a:lnSpc>
                <a:spcPct val="100000"/>
              </a:lnSpc>
              <a:spcBef>
                <a:spcPts val="95"/>
              </a:spcBef>
              <a:buClr>
                <a:srgbClr val="FFCF30"/>
              </a:buClr>
              <a:buFont typeface="Wingdings"/>
              <a:buChar char=""/>
              <a:tabLst>
                <a:tab pos="355600" algn="l"/>
                <a:tab pos="356235" algn="l"/>
              </a:tabLst>
            </a:pP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Congress</a:t>
            </a:r>
            <a:r>
              <a:rPr sz="22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created</a:t>
            </a:r>
            <a:r>
              <a:rPr sz="2200" b="1" spc="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special</a:t>
            </a:r>
            <a:r>
              <a:rPr sz="2200" b="1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needs</a:t>
            </a:r>
            <a:r>
              <a:rPr sz="2200" b="1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plans</a:t>
            </a:r>
            <a:r>
              <a:rPr sz="2200" b="1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(SNPs)</a:t>
            </a:r>
            <a:r>
              <a:rPr sz="22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in</a:t>
            </a:r>
            <a:r>
              <a:rPr sz="22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2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Medicare</a:t>
            </a:r>
            <a:r>
              <a:rPr sz="2200" b="1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Modernization</a:t>
            </a:r>
            <a:r>
              <a:rPr sz="2200" b="1" spc="-1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Act </a:t>
            </a:r>
            <a:r>
              <a:rPr sz="2200" b="1" spc="-6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of 2003</a:t>
            </a:r>
            <a:endParaRPr sz="2200">
              <a:latin typeface="Arial"/>
              <a:cs typeface="Arial"/>
            </a:endParaRPr>
          </a:p>
          <a:p>
            <a:pPr marL="355600" indent="-343535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5600" algn="l"/>
                <a:tab pos="356235" algn="l"/>
              </a:tabLst>
            </a:pP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SNPs</a:t>
            </a:r>
            <a:r>
              <a:rPr sz="22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focus on</a:t>
            </a:r>
            <a:r>
              <a:rPr sz="2200" b="1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vulnerable</a:t>
            </a:r>
            <a:r>
              <a:rPr sz="22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groups</a:t>
            </a:r>
            <a:r>
              <a:rPr sz="2200" b="1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2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Medicare</a:t>
            </a:r>
            <a:r>
              <a:rPr sz="2200" b="1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beneficiaries:</a:t>
            </a:r>
            <a:endParaRPr sz="2200">
              <a:latin typeface="Arial"/>
              <a:cs typeface="Arial"/>
            </a:endParaRPr>
          </a:p>
          <a:p>
            <a:pPr marL="1041400" marR="5080" lvl="1" indent="-343535">
              <a:lnSpc>
                <a:spcPct val="100000"/>
              </a:lnSpc>
              <a:spcBef>
                <a:spcPts val="1200"/>
              </a:spcBef>
              <a:buChar char="•"/>
              <a:tabLst>
                <a:tab pos="1041400" algn="l"/>
                <a:tab pos="1042035" algn="l"/>
              </a:tabLst>
            </a:pP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D-SNP</a:t>
            </a:r>
            <a:r>
              <a:rPr sz="22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members</a:t>
            </a:r>
            <a:r>
              <a:rPr sz="2200" spc="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are</a:t>
            </a:r>
            <a:r>
              <a:rPr sz="22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individuals</a:t>
            </a:r>
            <a:r>
              <a:rPr sz="22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who</a:t>
            </a:r>
            <a:r>
              <a:rPr sz="22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are</a:t>
            </a:r>
            <a:r>
              <a:rPr sz="22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dually</a:t>
            </a:r>
            <a:r>
              <a:rPr sz="22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eligible</a:t>
            </a:r>
            <a:r>
              <a:rPr sz="22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for</a:t>
            </a:r>
            <a:r>
              <a:rPr sz="22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Managed</a:t>
            </a:r>
            <a:r>
              <a:rPr sz="2200" spc="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Medicare</a:t>
            </a:r>
            <a:r>
              <a:rPr sz="22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and </a:t>
            </a:r>
            <a:r>
              <a:rPr sz="2200" spc="-59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have</a:t>
            </a:r>
            <a:r>
              <a:rPr sz="22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Medicaid</a:t>
            </a:r>
            <a:endParaRPr sz="2200">
              <a:latin typeface="Arial"/>
              <a:cs typeface="Arial"/>
            </a:endParaRPr>
          </a:p>
          <a:p>
            <a:pPr marL="1041400" lvl="1" indent="-343535">
              <a:lnSpc>
                <a:spcPct val="100000"/>
              </a:lnSpc>
              <a:spcBef>
                <a:spcPts val="1200"/>
              </a:spcBef>
              <a:buChar char="•"/>
              <a:tabLst>
                <a:tab pos="1041400" algn="l"/>
                <a:tab pos="1042035" algn="l"/>
              </a:tabLst>
            </a:pP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Both</a:t>
            </a:r>
            <a:r>
              <a:rPr sz="22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2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Medicare</a:t>
            </a:r>
            <a:r>
              <a:rPr sz="2200" spc="-9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Advantage</a:t>
            </a:r>
            <a:r>
              <a:rPr sz="22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2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Medicaid</a:t>
            </a:r>
            <a:r>
              <a:rPr sz="2200" spc="-114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Advantage</a:t>
            </a:r>
            <a:r>
              <a:rPr sz="22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Plans</a:t>
            </a:r>
            <a:r>
              <a:rPr sz="22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are</a:t>
            </a:r>
            <a:r>
              <a:rPr sz="22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D-SNPs</a:t>
            </a:r>
            <a:endParaRPr sz="2200">
              <a:latin typeface="Arial"/>
              <a:cs typeface="Arial"/>
            </a:endParaRPr>
          </a:p>
          <a:p>
            <a:pPr marL="355600" marR="32384" indent="-343535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5600" algn="l"/>
                <a:tab pos="356235" algn="l"/>
              </a:tabLst>
            </a:pP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Chapter</a:t>
            </a:r>
            <a:r>
              <a:rPr sz="2200" b="1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42</a:t>
            </a:r>
            <a:r>
              <a:rPr sz="22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200" b="1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2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Code</a:t>
            </a:r>
            <a:r>
              <a:rPr sz="22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200" b="1" spc="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Federal</a:t>
            </a:r>
            <a:r>
              <a:rPr sz="2200" b="1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Regulations</a:t>
            </a:r>
            <a:r>
              <a:rPr sz="22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mandates</a:t>
            </a:r>
            <a:r>
              <a:rPr sz="2200" b="1" spc="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that</a:t>
            </a:r>
            <a:r>
              <a:rPr sz="22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SNPs</a:t>
            </a:r>
            <a:r>
              <a:rPr sz="2200" b="1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conduct </a:t>
            </a:r>
            <a:r>
              <a:rPr sz="2200" b="1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Model</a:t>
            </a:r>
            <a:r>
              <a:rPr sz="22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2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r>
              <a:rPr sz="22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(MOC)</a:t>
            </a:r>
            <a:r>
              <a:rPr sz="2200" b="1" spc="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training</a:t>
            </a:r>
            <a:r>
              <a:rPr sz="2200" b="1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i="1" spc="-5" dirty="0">
                <a:solidFill>
                  <a:srgbClr val="00070E"/>
                </a:solidFill>
                <a:latin typeface="Arial"/>
                <a:cs typeface="Arial"/>
              </a:rPr>
              <a:t>annually</a:t>
            </a:r>
            <a:r>
              <a:rPr sz="2200" b="1" i="1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for</a:t>
            </a:r>
            <a:r>
              <a:rPr sz="2200" b="1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all employees</a:t>
            </a:r>
            <a:r>
              <a:rPr sz="2200" b="1" spc="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2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contracted</a:t>
            </a:r>
            <a:r>
              <a:rPr sz="2200" b="1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providers</a:t>
            </a:r>
            <a:endParaRPr sz="2200">
              <a:latin typeface="Arial"/>
              <a:cs typeface="Arial"/>
            </a:endParaRPr>
          </a:p>
          <a:p>
            <a:pPr marL="355600" marR="1496060" indent="-343535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5600" algn="l"/>
                <a:tab pos="356235" algn="l"/>
              </a:tabLst>
            </a:pP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This</a:t>
            </a:r>
            <a:r>
              <a:rPr sz="22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training</a:t>
            </a:r>
            <a:r>
              <a:rPr sz="22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covers</a:t>
            </a:r>
            <a:r>
              <a:rPr sz="2200" b="1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both</a:t>
            </a:r>
            <a:r>
              <a:rPr sz="22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our</a:t>
            </a:r>
            <a:r>
              <a:rPr sz="2200" b="1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MetroPlusHealth</a:t>
            </a:r>
            <a:r>
              <a:rPr sz="2200" b="1" spc="-9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Advantage</a:t>
            </a:r>
            <a:r>
              <a:rPr sz="2200" b="1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Plan</a:t>
            </a:r>
            <a:r>
              <a:rPr sz="22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2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our </a:t>
            </a:r>
            <a:r>
              <a:rPr sz="2200" b="1" spc="-59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MetroPlusHealth</a:t>
            </a:r>
            <a:r>
              <a:rPr sz="2200" b="1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Medicaid</a:t>
            </a:r>
            <a:r>
              <a:rPr sz="2200" b="1" spc="-1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Advantage</a:t>
            </a:r>
            <a:r>
              <a:rPr sz="2200" b="1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Plan,</a:t>
            </a:r>
            <a:r>
              <a:rPr sz="2200" b="1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or</a:t>
            </a:r>
            <a:r>
              <a:rPr sz="2200" b="1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b="1" spc="-5" dirty="0">
                <a:solidFill>
                  <a:srgbClr val="00070E"/>
                </a:solidFill>
                <a:latin typeface="Arial"/>
                <a:cs typeface="Arial"/>
              </a:rPr>
              <a:t>UltraCare</a:t>
            </a:r>
            <a:endParaRPr sz="2200">
              <a:latin typeface="Arial"/>
              <a:cs typeface="Arial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708135" y="53339"/>
            <a:ext cx="3425939" cy="1519427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3</a:t>
            </a:fld>
            <a:endParaRPr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46620" y="1654467"/>
            <a:ext cx="11215370" cy="2776220"/>
          </a:xfrm>
          <a:prstGeom prst="rect">
            <a:avLst/>
          </a:prstGeom>
        </p:spPr>
        <p:txBody>
          <a:bodyPr vert="horz" wrap="square" lIns="0" tIns="76200" rIns="0" bIns="0" rtlCol="0">
            <a:spAutoFit/>
          </a:bodyPr>
          <a:lstStyle/>
          <a:p>
            <a:pPr marL="355600" indent="-343535">
              <a:lnSpc>
                <a:spcPct val="100000"/>
              </a:lnSpc>
              <a:spcBef>
                <a:spcPts val="600"/>
              </a:spcBef>
              <a:buClr>
                <a:srgbClr val="00070E"/>
              </a:buClr>
              <a:buFont typeface="Arial"/>
              <a:buChar char="•"/>
              <a:tabLst>
                <a:tab pos="354965" algn="l"/>
                <a:tab pos="356235" algn="l"/>
              </a:tabLst>
            </a:pP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A</a:t>
            </a:r>
            <a:r>
              <a:rPr sz="2400" b="1" spc="-1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SNP</a:t>
            </a:r>
            <a:r>
              <a:rPr sz="2400" b="1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is for</a:t>
            </a:r>
            <a:r>
              <a:rPr sz="2400" b="1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individuals</a:t>
            </a:r>
            <a:r>
              <a:rPr sz="2400" b="1" spc="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who</a:t>
            </a:r>
            <a:r>
              <a:rPr sz="24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are</a:t>
            </a:r>
            <a:r>
              <a:rPr sz="2400" b="1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dually</a:t>
            </a:r>
            <a:r>
              <a:rPr sz="2400" b="1" spc="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eligible</a:t>
            </a:r>
            <a:r>
              <a:rPr sz="2400" b="1" spc="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for</a:t>
            </a:r>
            <a:r>
              <a:rPr sz="2400" b="1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Medicare</a:t>
            </a:r>
            <a:r>
              <a:rPr sz="2400" b="1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Medicaid</a:t>
            </a:r>
            <a:endParaRPr sz="2400">
              <a:latin typeface="Arial"/>
              <a:cs typeface="Arial"/>
            </a:endParaRPr>
          </a:p>
          <a:p>
            <a:pPr marL="1041400" marR="493395" lvl="1" indent="-342900">
              <a:lnSpc>
                <a:spcPct val="100000"/>
              </a:lnSpc>
              <a:spcBef>
                <a:spcPts val="500"/>
              </a:spcBef>
              <a:buClr>
                <a:srgbClr val="FFD02F"/>
              </a:buClr>
              <a:buFont typeface="Arial"/>
              <a:buChar char="•"/>
              <a:tabLst>
                <a:tab pos="1040765" algn="l"/>
                <a:tab pos="1042035" algn="l"/>
              </a:tabLst>
            </a:pP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Full</a:t>
            </a:r>
            <a:r>
              <a:rPr sz="2400" b="1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duals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: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ndividuals</a:t>
            </a:r>
            <a:r>
              <a:rPr sz="2400" spc="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who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have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dicare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benefits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lso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receive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full </a:t>
            </a:r>
            <a:r>
              <a:rPr sz="2400" spc="-6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dicaid</a:t>
            </a:r>
            <a:r>
              <a:rPr sz="24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benefits</a:t>
            </a:r>
            <a:endParaRPr sz="2400">
              <a:latin typeface="Arial"/>
              <a:cs typeface="Arial"/>
            </a:endParaRPr>
          </a:p>
          <a:p>
            <a:pPr marL="1041400" marR="5080" lvl="1" indent="-342900">
              <a:lnSpc>
                <a:spcPct val="100000"/>
              </a:lnSpc>
              <a:spcBef>
                <a:spcPts val="500"/>
              </a:spcBef>
              <a:buClr>
                <a:srgbClr val="FFD02F"/>
              </a:buClr>
              <a:buFont typeface="Arial"/>
              <a:buChar char="•"/>
              <a:tabLst>
                <a:tab pos="1040765" algn="l"/>
                <a:tab pos="1042035" algn="l"/>
              </a:tabLst>
            </a:pP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Partial</a:t>
            </a:r>
            <a:r>
              <a:rPr sz="2400" b="1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duals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:</a:t>
            </a:r>
            <a:r>
              <a:rPr sz="24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ndividuals</a:t>
            </a:r>
            <a:r>
              <a:rPr sz="2400" spc="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who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have full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dicare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benefits but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do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not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qualify </a:t>
            </a:r>
            <a:r>
              <a:rPr sz="2400" spc="-6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for full Medicaid</a:t>
            </a:r>
            <a:r>
              <a:rPr sz="2400" spc="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because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their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ncome.</a:t>
            </a:r>
            <a:r>
              <a:rPr sz="24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These individuals</a:t>
            </a:r>
            <a:r>
              <a:rPr sz="2400" spc="6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re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eligible</a:t>
            </a:r>
            <a:r>
              <a:rPr sz="2400" spc="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for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dicare Advantage but not integrated plans like Medicaid Advantage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(UltraCare)</a:t>
            </a:r>
            <a:endParaRPr sz="2400">
              <a:latin typeface="Arial"/>
              <a:cs typeface="Arial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4</a:t>
            </a:fld>
            <a:endParaRPr dirty="0"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76072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95"/>
              </a:spcBef>
              <a:tabLst>
                <a:tab pos="11365865" algn="l"/>
              </a:tabLst>
            </a:pPr>
            <a:r>
              <a:rPr sz="2800" spc="-10" dirty="0"/>
              <a:t>SPECIAL</a:t>
            </a:r>
            <a:r>
              <a:rPr sz="2800" spc="-105" dirty="0"/>
              <a:t> </a:t>
            </a:r>
            <a:r>
              <a:rPr sz="2800" spc="-10" dirty="0"/>
              <a:t>NEEDS</a:t>
            </a:r>
            <a:r>
              <a:rPr sz="2800" spc="10" dirty="0"/>
              <a:t> </a:t>
            </a:r>
            <a:r>
              <a:rPr sz="2800" spc="-10" dirty="0"/>
              <a:t>PLAN	</a:t>
            </a:r>
            <a:endParaRPr sz="280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76072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95"/>
              </a:spcBef>
              <a:tabLst>
                <a:tab pos="11365865" algn="l"/>
              </a:tabLst>
            </a:pPr>
            <a:r>
              <a:rPr sz="2800" spc="-10" dirty="0"/>
              <a:t>CARE</a:t>
            </a:r>
            <a:r>
              <a:rPr sz="2800" spc="-5" dirty="0"/>
              <a:t> </a:t>
            </a:r>
            <a:r>
              <a:rPr sz="2800" spc="-10" dirty="0"/>
              <a:t>MANAGEMENT</a:t>
            </a:r>
            <a:r>
              <a:rPr sz="2800" dirty="0"/>
              <a:t> </a:t>
            </a:r>
            <a:r>
              <a:rPr sz="2800" spc="-15" dirty="0"/>
              <a:t>SERVICES</a:t>
            </a:r>
            <a:r>
              <a:rPr sz="2800" spc="-5" dirty="0"/>
              <a:t> </a:t>
            </a:r>
            <a:r>
              <a:rPr sz="2800" spc="-10" dirty="0"/>
              <a:t>FOR</a:t>
            </a:r>
            <a:r>
              <a:rPr sz="2800" spc="20" dirty="0"/>
              <a:t> </a:t>
            </a:r>
            <a:r>
              <a:rPr sz="2800" spc="-10" dirty="0"/>
              <a:t>MEDICARE</a:t>
            </a:r>
            <a:r>
              <a:rPr sz="2800" spc="10" dirty="0"/>
              <a:t> </a:t>
            </a:r>
            <a:r>
              <a:rPr sz="2800" spc="-10" dirty="0"/>
              <a:t>MEMBERS	</a:t>
            </a:r>
            <a:endParaRPr sz="2800"/>
          </a:p>
        </p:txBody>
      </p:sp>
      <p:sp>
        <p:nvSpPr>
          <p:cNvPr id="3" name="object 3"/>
          <p:cNvSpPr txBox="1"/>
          <p:nvPr/>
        </p:nvSpPr>
        <p:spPr>
          <a:xfrm>
            <a:off x="4692281" y="1443266"/>
            <a:ext cx="7015480" cy="4171950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355600" marR="9525" indent="-342900" algn="just">
              <a:lnSpc>
                <a:spcPts val="1939"/>
              </a:lnSpc>
              <a:spcBef>
                <a:spcPts val="345"/>
              </a:spcBef>
              <a:buChar char="•"/>
              <a:tabLst>
                <a:tab pos="355600" algn="l"/>
              </a:tabLst>
            </a:pP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MetroPlusHealth Care Management coordinates services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to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meet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 the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medical, behavioral, psychosocial, and functional needs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of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the </a:t>
            </a:r>
            <a:r>
              <a:rPr sz="1800" spc="-49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dual</a:t>
            </a:r>
            <a:r>
              <a:rPr sz="18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eligible</a:t>
            </a:r>
            <a:r>
              <a:rPr sz="18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members.</a:t>
            </a:r>
            <a:endParaRPr sz="1800">
              <a:latin typeface="Arial"/>
              <a:cs typeface="Arial"/>
            </a:endParaRPr>
          </a:p>
          <a:p>
            <a:pPr marL="355600" marR="91440" indent="-342900" algn="just">
              <a:lnSpc>
                <a:spcPts val="1939"/>
              </a:lnSpc>
              <a:spcBef>
                <a:spcPts val="1015"/>
              </a:spcBef>
              <a:buChar char="•"/>
              <a:tabLst>
                <a:tab pos="355600" algn="l"/>
              </a:tabLst>
            </a:pP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MetroPlusHealth Care Managers are either Registered Nurses or </a:t>
            </a:r>
            <a:r>
              <a:rPr sz="1800" spc="-49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Social</a:t>
            </a:r>
            <a:r>
              <a:rPr sz="18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Workers</a:t>
            </a:r>
            <a:endParaRPr sz="1800">
              <a:latin typeface="Arial"/>
              <a:cs typeface="Arial"/>
            </a:endParaRPr>
          </a:p>
          <a:p>
            <a:pPr marL="355600" marR="5080" indent="-342900" algn="just">
              <a:lnSpc>
                <a:spcPts val="1939"/>
              </a:lnSpc>
              <a:spcBef>
                <a:spcPts val="1005"/>
              </a:spcBef>
              <a:buChar char="•"/>
              <a:tabLst>
                <a:tab pos="355600" algn="l"/>
              </a:tabLst>
            </a:pP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Medicare Advantage and UltraCare (MAP) members are assigned </a:t>
            </a:r>
            <a:r>
              <a:rPr sz="1800" spc="-49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a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 Care</a:t>
            </a:r>
            <a:r>
              <a:rPr sz="18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Manager</a:t>
            </a:r>
            <a:endParaRPr sz="18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760"/>
              </a:spcBef>
              <a:buChar char="•"/>
              <a:tabLst>
                <a:tab pos="354965" algn="l"/>
                <a:tab pos="355600" algn="l"/>
              </a:tabLst>
            </a:pP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For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65" dirty="0">
                <a:solidFill>
                  <a:srgbClr val="00070E"/>
                </a:solidFill>
                <a:latin typeface="Arial"/>
                <a:cs typeface="Arial"/>
              </a:rPr>
              <a:t>MAP,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the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Care Manager</a:t>
            </a:r>
            <a:r>
              <a:rPr sz="1800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is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always</a:t>
            </a:r>
            <a:r>
              <a:rPr sz="1800" spc="6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a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 Registered</a:t>
            </a:r>
            <a:r>
              <a:rPr sz="18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Nurse</a:t>
            </a:r>
            <a:endParaRPr sz="1800">
              <a:latin typeface="Arial"/>
              <a:cs typeface="Arial"/>
            </a:endParaRPr>
          </a:p>
          <a:p>
            <a:pPr marL="355600" marR="49530" indent="-342900">
              <a:lnSpc>
                <a:spcPts val="1939"/>
              </a:lnSpc>
              <a:spcBef>
                <a:spcPts val="1250"/>
              </a:spcBef>
              <a:buChar char="•"/>
              <a:tabLst>
                <a:tab pos="354965" algn="l"/>
                <a:tab pos="355600" algn="l"/>
              </a:tabLst>
            </a:pP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Members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are assessed using 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the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Health Risk 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Assessment (HRA) </a:t>
            </a:r>
            <a:r>
              <a:rPr sz="1800" spc="-49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for Medicare Advantage and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the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Uniform Assessment System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 (UAS-NY)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for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 Ultracare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members</a:t>
            </a:r>
            <a:endParaRPr sz="1800">
              <a:latin typeface="Arial"/>
              <a:cs typeface="Arial"/>
            </a:endParaRPr>
          </a:p>
          <a:p>
            <a:pPr marL="355600" marR="111760" indent="-342900">
              <a:lnSpc>
                <a:spcPts val="1939"/>
              </a:lnSpc>
              <a:spcBef>
                <a:spcPts val="1010"/>
              </a:spcBef>
              <a:buChar char="•"/>
              <a:tabLst>
                <a:tab pos="354965" algn="l"/>
                <a:tab pos="355600" algn="l"/>
              </a:tabLst>
            </a:pP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Following</a:t>
            </a:r>
            <a:r>
              <a:rPr sz="1800" spc="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assessment,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an</a:t>
            </a:r>
            <a:r>
              <a:rPr sz="18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individualized</a:t>
            </a:r>
            <a:r>
              <a:rPr sz="1800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r>
              <a:rPr sz="18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plan</a:t>
            </a:r>
            <a:r>
              <a:rPr sz="18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(ICP) is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developed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with</a:t>
            </a:r>
            <a:r>
              <a:rPr sz="1800" spc="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participation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of the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25" dirty="0">
                <a:solidFill>
                  <a:srgbClr val="00070E"/>
                </a:solidFill>
                <a:latin typeface="Arial"/>
                <a:cs typeface="Arial"/>
              </a:rPr>
              <a:t>Member,</a:t>
            </a:r>
            <a:r>
              <a:rPr sz="18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r>
              <a:rPr sz="18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20" dirty="0">
                <a:solidFill>
                  <a:srgbClr val="00070E"/>
                </a:solidFill>
                <a:latin typeface="Arial"/>
                <a:cs typeface="Arial"/>
              </a:rPr>
              <a:t>Manager,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65" dirty="0">
                <a:solidFill>
                  <a:srgbClr val="00070E"/>
                </a:solidFill>
                <a:latin typeface="Arial"/>
                <a:cs typeface="Arial"/>
              </a:rPr>
              <a:t>PCP, </a:t>
            </a:r>
            <a:r>
              <a:rPr sz="1800" spc="-484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Behavioral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Health</a:t>
            </a:r>
            <a:r>
              <a:rPr sz="18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20" dirty="0">
                <a:solidFill>
                  <a:srgbClr val="00070E"/>
                </a:solidFill>
                <a:latin typeface="Arial"/>
                <a:cs typeface="Arial"/>
              </a:rPr>
              <a:t>provider,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others</a:t>
            </a:r>
            <a:r>
              <a:rPr sz="18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5" dirty="0">
                <a:solidFill>
                  <a:srgbClr val="00070E"/>
                </a:solidFill>
                <a:latin typeface="Arial"/>
                <a:cs typeface="Arial"/>
              </a:rPr>
              <a:t>as</a:t>
            </a:r>
            <a:r>
              <a:rPr sz="18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00070E"/>
                </a:solidFill>
                <a:latin typeface="Arial"/>
                <a:cs typeface="Arial"/>
              </a:rPr>
              <a:t>needed</a:t>
            </a:r>
            <a:endParaRPr sz="1800">
              <a:latin typeface="Arial"/>
              <a:cs typeface="Arial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38746" y="1433488"/>
            <a:ext cx="3907497" cy="4315901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5</a:t>
            </a:fld>
            <a:endParaRPr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76072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95"/>
              </a:spcBef>
              <a:tabLst>
                <a:tab pos="11365865" algn="l"/>
              </a:tabLst>
            </a:pPr>
            <a:r>
              <a:rPr sz="2800" spc="-5" dirty="0"/>
              <a:t>WHO</a:t>
            </a:r>
            <a:r>
              <a:rPr sz="2800" spc="-165" dirty="0"/>
              <a:t> </a:t>
            </a:r>
            <a:r>
              <a:rPr sz="2800" spc="-10" dirty="0"/>
              <a:t>ARE</a:t>
            </a:r>
            <a:r>
              <a:rPr sz="2800" spc="-40" dirty="0"/>
              <a:t> </a:t>
            </a:r>
            <a:r>
              <a:rPr sz="2800" spc="-10" dirty="0"/>
              <a:t>THE</a:t>
            </a:r>
            <a:r>
              <a:rPr sz="2800" spc="5" dirty="0"/>
              <a:t> </a:t>
            </a:r>
            <a:r>
              <a:rPr sz="2800" spc="-10" dirty="0"/>
              <a:t>INTERDISCIPLINARY</a:t>
            </a:r>
            <a:r>
              <a:rPr sz="2800" spc="-55" dirty="0"/>
              <a:t> </a:t>
            </a:r>
            <a:r>
              <a:rPr sz="2800" spc="-10" dirty="0"/>
              <a:t>TEAM</a:t>
            </a:r>
            <a:r>
              <a:rPr sz="2800" spc="20" dirty="0"/>
              <a:t> </a:t>
            </a:r>
            <a:r>
              <a:rPr sz="2800" spc="-5" dirty="0"/>
              <a:t>(ICT)</a:t>
            </a:r>
            <a:r>
              <a:rPr sz="2800" spc="5" dirty="0"/>
              <a:t> </a:t>
            </a:r>
            <a:r>
              <a:rPr sz="2800" spc="-10" dirty="0"/>
              <a:t>MEMBERS	</a:t>
            </a:r>
            <a:endParaRPr sz="2800"/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6</a:t>
            </a:fld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444478" y="1351280"/>
            <a:ext cx="11020425" cy="42938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54965" marR="125730" indent="-342900">
              <a:lnSpc>
                <a:spcPct val="100000"/>
              </a:lnSpc>
              <a:spcBef>
                <a:spcPts val="105"/>
              </a:spcBef>
              <a:buChar char="•"/>
              <a:tabLst>
                <a:tab pos="354965" algn="l"/>
                <a:tab pos="355600" algn="l"/>
                <a:tab pos="2467610" algn="l"/>
              </a:tabLst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ICT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functions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s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multidisciplinary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eam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 support</a:t>
            </a:r>
            <a:r>
              <a:rPr sz="2000" spc="-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mber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improve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mbers’ </a:t>
            </a:r>
            <a:r>
              <a:rPr sz="2000" spc="-5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health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onditions.	The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mber</a:t>
            </a:r>
            <a:r>
              <a:rPr sz="2000" spc="-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is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 the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entral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focus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eam.</a:t>
            </a:r>
            <a:endParaRPr sz="20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40"/>
              </a:spcBef>
              <a:buClr>
                <a:srgbClr val="00070E"/>
              </a:buClr>
              <a:buFont typeface="Arial"/>
              <a:buChar char="•"/>
            </a:pPr>
            <a:endParaRPr sz="2050">
              <a:latin typeface="Arial"/>
              <a:cs typeface="Arial"/>
            </a:endParaRPr>
          </a:p>
          <a:p>
            <a:pPr marL="355600" indent="-343535">
              <a:lnSpc>
                <a:spcPct val="100000"/>
              </a:lnSpc>
              <a:buChar char="•"/>
              <a:tabLst>
                <a:tab pos="354965" algn="l"/>
                <a:tab pos="356235" algn="l"/>
              </a:tabLst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purpose</a:t>
            </a:r>
            <a:r>
              <a:rPr sz="2000" spc="-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ICT</a:t>
            </a:r>
            <a:r>
              <a:rPr sz="2000" spc="-6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is to:</a:t>
            </a:r>
            <a:endParaRPr sz="2000">
              <a:latin typeface="Arial"/>
              <a:cs typeface="Arial"/>
            </a:endParaRPr>
          </a:p>
          <a:p>
            <a:pPr marL="1040765" lvl="1" indent="-343535">
              <a:lnSpc>
                <a:spcPct val="100000"/>
              </a:lnSpc>
              <a:buClr>
                <a:srgbClr val="FFD02F"/>
              </a:buClr>
              <a:buChar char="•"/>
              <a:tabLst>
                <a:tab pos="1040765" algn="l"/>
                <a:tab pos="1041400" algn="l"/>
              </a:tabLst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ssist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mber</a:t>
            </a:r>
            <a:r>
              <a:rPr sz="2000" spc="-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with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r>
              <a:rPr sz="2000" spc="-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oordination</a:t>
            </a:r>
            <a:endParaRPr sz="2000">
              <a:latin typeface="Arial"/>
              <a:cs typeface="Arial"/>
            </a:endParaRPr>
          </a:p>
          <a:p>
            <a:pPr marL="1040765" marR="327660" lvl="1" indent="-342900">
              <a:lnSpc>
                <a:spcPct val="100000"/>
              </a:lnSpc>
              <a:buClr>
                <a:srgbClr val="FFD02F"/>
              </a:buClr>
              <a:buChar char="•"/>
              <a:tabLst>
                <a:tab pos="1040765" algn="l"/>
                <a:tab pos="1041400" algn="l"/>
              </a:tabLst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ssist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mber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with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anaging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ransitions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after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n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cute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dmission,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or </a:t>
            </a:r>
            <a:r>
              <a:rPr sz="2000" spc="-5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discharge</a:t>
            </a:r>
            <a:r>
              <a:rPr sz="2000" spc="-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from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rehab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facility,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skilled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nursing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facility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from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home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r>
              <a:rPr sz="2000" spc="-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services</a:t>
            </a:r>
            <a:endParaRPr sz="2000">
              <a:latin typeface="Arial"/>
              <a:cs typeface="Arial"/>
            </a:endParaRPr>
          </a:p>
          <a:p>
            <a:pPr marL="1041400" lvl="1" indent="-343535">
              <a:lnSpc>
                <a:spcPts val="2400"/>
              </a:lnSpc>
              <a:buClr>
                <a:srgbClr val="FFD02F"/>
              </a:buClr>
              <a:buChar char="•"/>
              <a:tabLst>
                <a:tab pos="1040765" algn="l"/>
                <a:tab pos="1042035" algn="l"/>
              </a:tabLst>
            </a:pP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Mediate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identified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barriers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endParaRPr sz="2000">
              <a:latin typeface="Arial"/>
              <a:cs typeface="Arial"/>
            </a:endParaRPr>
          </a:p>
          <a:p>
            <a:pPr marL="1041400" marR="5080" lvl="1" indent="-342900">
              <a:lnSpc>
                <a:spcPct val="100000"/>
              </a:lnSpc>
              <a:spcBef>
                <a:spcPts val="5"/>
              </a:spcBef>
              <a:buClr>
                <a:srgbClr val="FFD02F"/>
              </a:buClr>
              <a:buChar char="•"/>
              <a:tabLst>
                <a:tab pos="1040765" algn="l"/>
                <a:tab pos="1042035" algn="l"/>
              </a:tabLst>
            </a:pP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Facilitate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oordinate</a:t>
            </a:r>
            <a:r>
              <a:rPr sz="2000" spc="-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 course</a:t>
            </a:r>
            <a:r>
              <a:rPr sz="2000" spc="-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 treatment</a:t>
            </a:r>
            <a:r>
              <a:rPr sz="2000" spc="-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prescribed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by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65" dirty="0">
                <a:solidFill>
                  <a:srgbClr val="00070E"/>
                </a:solidFill>
                <a:latin typeface="Arial"/>
                <a:cs typeface="Arial"/>
              </a:rPr>
              <a:t>PCP,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Specialist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or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BH </a:t>
            </a:r>
            <a:r>
              <a:rPr sz="2000" spc="-5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provider</a:t>
            </a:r>
            <a:endParaRPr sz="2000">
              <a:latin typeface="Arial"/>
              <a:cs typeface="Arial"/>
            </a:endParaRPr>
          </a:p>
          <a:p>
            <a:pPr lvl="1">
              <a:lnSpc>
                <a:spcPct val="100000"/>
              </a:lnSpc>
              <a:spcBef>
                <a:spcPts val="40"/>
              </a:spcBef>
              <a:buClr>
                <a:srgbClr val="FFD02F"/>
              </a:buClr>
              <a:buFont typeface="Arial"/>
              <a:buChar char="•"/>
            </a:pPr>
            <a:endParaRPr sz="2050">
              <a:latin typeface="Arial"/>
              <a:cs typeface="Arial"/>
            </a:endParaRPr>
          </a:p>
          <a:p>
            <a:pPr marL="354965" marR="163195" indent="-342900">
              <a:lnSpc>
                <a:spcPct val="100000"/>
              </a:lnSpc>
              <a:buChar char="•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While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ore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mbers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ICT</a:t>
            </a:r>
            <a:r>
              <a:rPr sz="2000" spc="-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re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member,</a:t>
            </a:r>
            <a:r>
              <a:rPr sz="2000" spc="-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manager,</a:t>
            </a:r>
            <a:r>
              <a:rPr sz="2000" spc="-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65" dirty="0">
                <a:solidFill>
                  <a:srgbClr val="00070E"/>
                </a:solidFill>
                <a:latin typeface="Arial"/>
                <a:cs typeface="Arial"/>
              </a:rPr>
              <a:t>PCP,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BH</a:t>
            </a:r>
            <a:r>
              <a:rPr sz="20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provider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(as </a:t>
            </a:r>
            <a:r>
              <a:rPr sz="2000" spc="-5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pplicable),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other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mbers such as the pharmacist, physical therapist, specialist, etc. </a:t>
            </a:r>
            <a:r>
              <a:rPr sz="2000" spc="5" dirty="0">
                <a:solidFill>
                  <a:srgbClr val="00070E"/>
                </a:solidFill>
                <a:latin typeface="Arial"/>
                <a:cs typeface="Arial"/>
              </a:rPr>
              <a:t>can </a:t>
            </a:r>
            <a:r>
              <a:rPr sz="20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participate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s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needed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05"/>
              </a:spcBef>
              <a:tabLst>
                <a:tab pos="11365865" algn="l"/>
              </a:tabLst>
            </a:pPr>
            <a:r>
              <a:rPr spc="-60" dirty="0"/>
              <a:t>WHAT</a:t>
            </a:r>
            <a:r>
              <a:rPr spc="-80" dirty="0"/>
              <a:t> </a:t>
            </a:r>
            <a:r>
              <a:rPr spc="-5" dirty="0"/>
              <a:t>IS</a:t>
            </a:r>
            <a:r>
              <a:rPr spc="-195" dirty="0"/>
              <a:t> </a:t>
            </a:r>
            <a:r>
              <a:rPr dirty="0"/>
              <a:t>A</a:t>
            </a:r>
            <a:r>
              <a:rPr spc="-200" dirty="0"/>
              <a:t> </a:t>
            </a:r>
            <a:r>
              <a:rPr dirty="0"/>
              <a:t>PLAN</a:t>
            </a:r>
            <a:r>
              <a:rPr spc="-15" dirty="0"/>
              <a:t> </a:t>
            </a:r>
            <a:r>
              <a:rPr dirty="0"/>
              <a:t>OF</a:t>
            </a:r>
            <a:r>
              <a:rPr spc="-25" dirty="0"/>
              <a:t> </a:t>
            </a:r>
            <a:r>
              <a:rPr dirty="0"/>
              <a:t>CARE	</a:t>
            </a:r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7</a:t>
            </a:fld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894588" y="1501749"/>
            <a:ext cx="10450195" cy="39884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105"/>
              </a:spcBef>
              <a:buChar char="•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Plans identify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mber-specific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goals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at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ddress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spc="10" dirty="0">
                <a:solidFill>
                  <a:srgbClr val="00070E"/>
                </a:solidFill>
                <a:latin typeface="Arial"/>
                <a:cs typeface="Arial"/>
              </a:rPr>
              <a:t>member’s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needs</a:t>
            </a:r>
            <a:endParaRPr sz="20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40"/>
              </a:spcBef>
              <a:buClr>
                <a:srgbClr val="00070E"/>
              </a:buClr>
              <a:buFont typeface="Arial"/>
              <a:buChar char="•"/>
            </a:pPr>
            <a:endParaRPr sz="205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buChar char="•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Individualized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Plan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(ICP)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ddresses</a:t>
            </a:r>
            <a:r>
              <a:rPr sz="2000" spc="-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following:</a:t>
            </a:r>
            <a:endParaRPr sz="2000">
              <a:latin typeface="Arial"/>
              <a:cs typeface="Arial"/>
            </a:endParaRPr>
          </a:p>
          <a:p>
            <a:pPr marL="1040765" lvl="1" indent="-343535">
              <a:lnSpc>
                <a:spcPct val="100000"/>
              </a:lnSpc>
              <a:buClr>
                <a:srgbClr val="FFD02F"/>
              </a:buClr>
              <a:buChar char="•"/>
              <a:tabLst>
                <a:tab pos="1040765" algn="l"/>
                <a:tab pos="1041400" algn="l"/>
              </a:tabLst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Short-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long-term</a:t>
            </a:r>
            <a:r>
              <a:rPr sz="2000" spc="-5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goals</a:t>
            </a:r>
            <a:endParaRPr sz="2000">
              <a:latin typeface="Arial"/>
              <a:cs typeface="Arial"/>
            </a:endParaRPr>
          </a:p>
          <a:p>
            <a:pPr marL="1040765" lvl="1" indent="-343535">
              <a:lnSpc>
                <a:spcPct val="100000"/>
              </a:lnSpc>
              <a:buClr>
                <a:srgbClr val="FFD02F"/>
              </a:buClr>
              <a:buChar char="•"/>
              <a:tabLst>
                <a:tab pos="1040765" algn="l"/>
                <a:tab pos="1041400" algn="l"/>
              </a:tabLst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Issues</a:t>
            </a:r>
            <a:r>
              <a:rPr sz="2000" spc="-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identified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in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nnual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ssessment</a:t>
            </a:r>
            <a:endParaRPr sz="2000">
              <a:latin typeface="Arial"/>
              <a:cs typeface="Arial"/>
            </a:endParaRPr>
          </a:p>
          <a:p>
            <a:pPr marL="1040765" lvl="1" indent="-343535">
              <a:lnSpc>
                <a:spcPct val="100000"/>
              </a:lnSpc>
              <a:buClr>
                <a:srgbClr val="FFD02F"/>
              </a:buClr>
              <a:buChar char="•"/>
              <a:tabLst>
                <a:tab pos="1040765" algn="l"/>
                <a:tab pos="1041400" algn="l"/>
              </a:tabLst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Gaps</a:t>
            </a:r>
            <a:r>
              <a:rPr sz="2000" spc="-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in</a:t>
            </a:r>
            <a:r>
              <a:rPr sz="20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endParaRPr sz="2000">
              <a:latin typeface="Arial"/>
              <a:cs typeface="Arial"/>
            </a:endParaRPr>
          </a:p>
          <a:p>
            <a:pPr marL="1040765" lvl="1" indent="-343535">
              <a:lnSpc>
                <a:spcPct val="100000"/>
              </a:lnSpc>
              <a:buClr>
                <a:srgbClr val="FFD02F"/>
              </a:buClr>
              <a:buChar char="•"/>
              <a:tabLst>
                <a:tab pos="1040765" algn="l"/>
                <a:tab pos="1041400" algn="l"/>
              </a:tabLst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dication</a:t>
            </a:r>
            <a:r>
              <a:rPr sz="2000" spc="-4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reconciliation/review</a:t>
            </a:r>
            <a:endParaRPr sz="2000">
              <a:latin typeface="Arial"/>
              <a:cs typeface="Arial"/>
            </a:endParaRPr>
          </a:p>
          <a:p>
            <a:pPr marL="1040765" lvl="1" indent="-343535">
              <a:lnSpc>
                <a:spcPct val="100000"/>
              </a:lnSpc>
              <a:buClr>
                <a:srgbClr val="FFD02F"/>
              </a:buClr>
              <a:buChar char="•"/>
              <a:tabLst>
                <a:tab pos="1040765" algn="l"/>
                <a:tab pos="1041400" algn="l"/>
              </a:tabLst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Educational</a:t>
            </a:r>
            <a:r>
              <a:rPr sz="2000" spc="-3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needs</a:t>
            </a:r>
            <a:endParaRPr sz="2000">
              <a:latin typeface="Arial"/>
              <a:cs typeface="Arial"/>
            </a:endParaRPr>
          </a:p>
          <a:p>
            <a:pPr lvl="1">
              <a:lnSpc>
                <a:spcPct val="100000"/>
              </a:lnSpc>
              <a:spcBef>
                <a:spcPts val="40"/>
              </a:spcBef>
              <a:buClr>
                <a:srgbClr val="FFD02F"/>
              </a:buClr>
              <a:buFont typeface="Arial"/>
              <a:buChar char="•"/>
            </a:pPr>
            <a:endParaRPr sz="2050">
              <a:latin typeface="Arial"/>
              <a:cs typeface="Arial"/>
            </a:endParaRPr>
          </a:p>
          <a:p>
            <a:pPr marL="354965" marR="5080" indent="-342900">
              <a:lnSpc>
                <a:spcPct val="100000"/>
              </a:lnSpc>
              <a:spcBef>
                <a:spcPts val="5"/>
              </a:spcBef>
              <a:buChar char="•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For </a:t>
            </a:r>
            <a:r>
              <a:rPr sz="2000" spc="-65" dirty="0">
                <a:solidFill>
                  <a:srgbClr val="00070E"/>
                </a:solidFill>
                <a:latin typeface="Arial"/>
                <a:cs typeface="Arial"/>
              </a:rPr>
              <a:t>MAP,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 individualized care plan considers other elements such as residential setting </a:t>
            </a:r>
            <a:r>
              <a:rPr sz="2000" spc="-54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supports</a:t>
            </a:r>
            <a:endParaRPr sz="20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40"/>
              </a:spcBef>
              <a:buClr>
                <a:srgbClr val="00070E"/>
              </a:buClr>
              <a:buFont typeface="Arial"/>
              <a:buChar char="•"/>
            </a:pPr>
            <a:endParaRPr sz="2050">
              <a:latin typeface="Arial"/>
              <a:cs typeface="Arial"/>
            </a:endParaRPr>
          </a:p>
          <a:p>
            <a:pPr marL="354965" indent="-342900">
              <a:lnSpc>
                <a:spcPct val="100000"/>
              </a:lnSpc>
              <a:buChar char="•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individualized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care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plans</a:t>
            </a:r>
            <a:r>
              <a:rPr sz="2000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re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shared</a:t>
            </a:r>
            <a:r>
              <a:rPr sz="2000" spc="-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with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member</a:t>
            </a:r>
            <a:r>
              <a:rPr sz="2000" spc="-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000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0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70E"/>
                </a:solidFill>
                <a:latin typeface="Arial"/>
                <a:cs typeface="Arial"/>
              </a:rPr>
              <a:t>provider</a:t>
            </a:r>
            <a:endParaRPr sz="2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05"/>
              </a:spcBef>
              <a:tabLst>
                <a:tab pos="11365865" algn="l"/>
              </a:tabLst>
            </a:pPr>
            <a:r>
              <a:rPr spc="-40" dirty="0"/>
              <a:t>HEALTH</a:t>
            </a:r>
            <a:r>
              <a:rPr spc="-35" dirty="0"/>
              <a:t> </a:t>
            </a:r>
            <a:r>
              <a:rPr dirty="0"/>
              <a:t>RISK</a:t>
            </a:r>
            <a:r>
              <a:rPr spc="-200" dirty="0"/>
              <a:t> </a:t>
            </a:r>
            <a:r>
              <a:rPr dirty="0"/>
              <a:t>ASSESSMENT</a:t>
            </a:r>
            <a:r>
              <a:rPr spc="-75" dirty="0"/>
              <a:t> </a:t>
            </a:r>
            <a:r>
              <a:rPr spc="-5" dirty="0"/>
              <a:t>(HRA)	</a:t>
            </a:r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8</a:t>
            </a:fld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1028700" y="1524000"/>
            <a:ext cx="10134600" cy="335040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0165" marR="383540">
              <a:lnSpc>
                <a:spcPct val="100000"/>
              </a:lnSpc>
              <a:spcBef>
                <a:spcPts val="100"/>
              </a:spcBef>
            </a:pP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The health</a:t>
            </a:r>
            <a:r>
              <a:rPr sz="24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risk assessment</a:t>
            </a:r>
            <a:r>
              <a:rPr sz="24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(HRA)</a:t>
            </a: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is</a:t>
            </a:r>
            <a:r>
              <a:rPr sz="24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an</a:t>
            </a: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objective</a:t>
            </a:r>
            <a:r>
              <a:rPr sz="24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tool used</a:t>
            </a:r>
            <a:r>
              <a:rPr sz="24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to</a:t>
            </a:r>
            <a:r>
              <a:rPr sz="2400" b="1" spc="-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collect </a:t>
            </a: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information on </a:t>
            </a: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a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beneficiary’s health status, health risk factors, social </a:t>
            </a:r>
            <a:r>
              <a:rPr sz="2400" b="1" spc="-6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determinants</a:t>
            </a:r>
            <a:r>
              <a:rPr sz="24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of health,</a:t>
            </a:r>
            <a:r>
              <a:rPr sz="24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4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functions</a:t>
            </a: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of daily</a:t>
            </a:r>
            <a:r>
              <a:rPr sz="2400" b="1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living</a:t>
            </a:r>
            <a:endParaRPr sz="2400" dirty="0">
              <a:latin typeface="Arial"/>
              <a:cs typeface="Arial"/>
            </a:endParaRPr>
          </a:p>
          <a:p>
            <a:pPr marL="793750" marR="5080" indent="-314960">
              <a:lnSpc>
                <a:spcPct val="100000"/>
              </a:lnSpc>
              <a:spcBef>
                <a:spcPts val="1115"/>
              </a:spcBef>
              <a:buClr>
                <a:srgbClr val="FFCF30"/>
              </a:buClr>
              <a:buFont typeface="Symbol"/>
              <a:buChar char=""/>
              <a:tabLst>
                <a:tab pos="793750" algn="l"/>
                <a:tab pos="794385" algn="l"/>
              </a:tabLst>
            </a:pP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Social</a:t>
            </a:r>
            <a:r>
              <a:rPr sz="22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determinants</a:t>
            </a:r>
            <a:r>
              <a:rPr sz="22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2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health</a:t>
            </a:r>
            <a:r>
              <a:rPr sz="22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questions</a:t>
            </a:r>
            <a:r>
              <a:rPr sz="2200" spc="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relate to</a:t>
            </a:r>
            <a:r>
              <a:rPr sz="2200" spc="-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food </a:t>
            </a:r>
            <a:r>
              <a:rPr sz="2200" spc="-20" dirty="0">
                <a:solidFill>
                  <a:srgbClr val="00070E"/>
                </a:solidFill>
                <a:latin typeface="Arial"/>
                <a:cs typeface="Arial"/>
              </a:rPr>
              <a:t>insecurity,</a:t>
            </a:r>
            <a:r>
              <a:rPr sz="22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transportation, </a:t>
            </a:r>
            <a:r>
              <a:rPr sz="2200" spc="-59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homelessness,</a:t>
            </a:r>
            <a:r>
              <a:rPr sz="2200" spc="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2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200" spc="-5" dirty="0">
                <a:solidFill>
                  <a:srgbClr val="00070E"/>
                </a:solidFill>
                <a:latin typeface="Arial"/>
                <a:cs typeface="Arial"/>
              </a:rPr>
              <a:t>utilities</a:t>
            </a:r>
            <a:endParaRPr sz="2200" dirty="0">
              <a:latin typeface="Arial"/>
              <a:cs typeface="Arial"/>
            </a:endParaRPr>
          </a:p>
          <a:p>
            <a:pPr marL="12700">
              <a:lnSpc>
                <a:spcPct val="150000"/>
              </a:lnSpc>
              <a:spcBef>
                <a:spcPts val="1670"/>
              </a:spcBef>
            </a:pP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400" b="1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HRA</a:t>
            </a:r>
            <a:r>
              <a:rPr sz="2400" b="1" spc="-1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is</a:t>
            </a: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conducted</a:t>
            </a:r>
            <a:r>
              <a:rPr sz="24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upon</a:t>
            </a:r>
            <a:r>
              <a:rPr sz="24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enrollment</a:t>
            </a:r>
            <a:r>
              <a:rPr sz="2400" b="1" spc="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and</a:t>
            </a:r>
            <a:r>
              <a:rPr sz="24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annually</a:t>
            </a:r>
            <a:endParaRPr lang="en-US" sz="2400" b="1" spc="-5" dirty="0">
              <a:solidFill>
                <a:srgbClr val="00070E"/>
              </a:solidFill>
              <a:latin typeface="Arial"/>
              <a:cs typeface="Arial"/>
            </a:endParaRPr>
          </a:p>
          <a:p>
            <a:pPr marL="12700">
              <a:lnSpc>
                <a:spcPct val="150000"/>
              </a:lnSpc>
              <a:spcBef>
                <a:spcPts val="1200"/>
              </a:spcBef>
            </a:pP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For</a:t>
            </a:r>
            <a:r>
              <a:rPr sz="2400" b="1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80" dirty="0">
                <a:solidFill>
                  <a:srgbClr val="00070E"/>
                </a:solidFill>
                <a:latin typeface="Arial"/>
                <a:cs typeface="Arial"/>
              </a:rPr>
              <a:t>MAP,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400" b="1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HRA</a:t>
            </a:r>
            <a:r>
              <a:rPr sz="2400" b="1" spc="-12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is</a:t>
            </a:r>
            <a:r>
              <a:rPr sz="2400" b="1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the</a:t>
            </a:r>
            <a:r>
              <a:rPr sz="2400" b="1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Uniform</a:t>
            </a:r>
            <a:r>
              <a:rPr sz="2400" b="1" spc="-13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Assessment</a:t>
            </a:r>
            <a:r>
              <a:rPr sz="2400" b="1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System</a:t>
            </a:r>
            <a:r>
              <a:rPr sz="2400" b="1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dirty="0">
                <a:solidFill>
                  <a:srgbClr val="00070E"/>
                </a:solidFill>
                <a:latin typeface="Arial"/>
                <a:cs typeface="Arial"/>
              </a:rPr>
              <a:t>NY</a:t>
            </a:r>
            <a:r>
              <a:rPr sz="2400" b="1" spc="-5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b="1" spc="-5" dirty="0">
                <a:solidFill>
                  <a:srgbClr val="00070E"/>
                </a:solidFill>
                <a:latin typeface="Arial"/>
                <a:cs typeface="Arial"/>
              </a:rPr>
              <a:t>(UAS-NY)</a:t>
            </a:r>
            <a:endParaRPr sz="24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05"/>
              </a:spcBef>
              <a:tabLst>
                <a:tab pos="11365865" algn="l"/>
              </a:tabLst>
            </a:pPr>
            <a:r>
              <a:rPr spc="-40" dirty="0"/>
              <a:t>HEALTH</a:t>
            </a:r>
            <a:r>
              <a:rPr spc="-60" dirty="0"/>
              <a:t> </a:t>
            </a:r>
            <a:r>
              <a:rPr dirty="0"/>
              <a:t>RISK</a:t>
            </a:r>
            <a:r>
              <a:rPr spc="-215" dirty="0"/>
              <a:t> </a:t>
            </a:r>
            <a:r>
              <a:rPr dirty="0"/>
              <a:t>ASSESSMENT	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6752844" y="344423"/>
            <a:ext cx="5110480" cy="6445250"/>
            <a:chOff x="6752844" y="344423"/>
            <a:chExt cx="5110480" cy="6445250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752844" y="344423"/>
              <a:ext cx="5109958" cy="6444995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947915" y="539496"/>
              <a:ext cx="4521708" cy="5856617"/>
            </a:xfrm>
            <a:prstGeom prst="rect">
              <a:avLst/>
            </a:prstGeom>
          </p:spPr>
        </p:pic>
      </p:grpSp>
      <p:sp>
        <p:nvSpPr>
          <p:cNvPr id="6" name="object 6"/>
          <p:cNvSpPr txBox="1"/>
          <p:nvPr/>
        </p:nvSpPr>
        <p:spPr>
          <a:xfrm>
            <a:off x="444500" y="1198879"/>
            <a:ext cx="6348095" cy="4688840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0"/>
              </a:spcBef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Includes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questions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bout: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Preferred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language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ppointments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Transportation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Public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assistance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Need</a:t>
            </a:r>
            <a:r>
              <a:rPr sz="2400" spc="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for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support</a:t>
            </a:r>
            <a:r>
              <a:rPr sz="2400" spc="1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with activities</a:t>
            </a:r>
            <a:r>
              <a:rPr sz="2400" spc="1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of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 daily</a:t>
            </a:r>
            <a:r>
              <a:rPr sz="2400" spc="25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living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10" dirty="0">
                <a:solidFill>
                  <a:srgbClr val="00070E"/>
                </a:solidFill>
                <a:latin typeface="Arial"/>
                <a:cs typeface="Arial"/>
              </a:rPr>
              <a:t>Pain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hronic</a:t>
            </a:r>
            <a:r>
              <a:rPr sz="2400" dirty="0">
                <a:solidFill>
                  <a:srgbClr val="00070E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conditions</a:t>
            </a:r>
            <a:endParaRPr sz="2400">
              <a:latin typeface="Arial"/>
              <a:cs typeface="Arial"/>
            </a:endParaRPr>
          </a:p>
          <a:p>
            <a:pPr marL="355600" indent="-342900">
              <a:lnSpc>
                <a:spcPct val="100000"/>
              </a:lnSpc>
              <a:spcBef>
                <a:spcPts val="1200"/>
              </a:spcBef>
              <a:buClr>
                <a:srgbClr val="FFCF30"/>
              </a:buClr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400" spc="-5" dirty="0">
                <a:solidFill>
                  <a:srgbClr val="00070E"/>
                </a:solidFill>
                <a:latin typeface="Arial"/>
                <a:cs typeface="Arial"/>
              </a:rPr>
              <a:t>Medications</a:t>
            </a:r>
            <a:endParaRPr sz="24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dirty="0"/>
              <a:t>9</a:t>
            </a:fld>
            <a:endParaRPr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9C6025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PH Gold">
  <a:themeElements>
    <a:clrScheme name="Metro Gold">
      <a:dk1>
        <a:srgbClr val="00080E"/>
      </a:dk1>
      <a:lt1>
        <a:sysClr val="window" lastClr="FFFFFF"/>
      </a:lt1>
      <a:dk2>
        <a:srgbClr val="FFCF31"/>
      </a:dk2>
      <a:lt2>
        <a:srgbClr val="FFFFFF"/>
      </a:lt2>
      <a:accent1>
        <a:srgbClr val="D8AE30"/>
      </a:accent1>
      <a:accent2>
        <a:srgbClr val="B1852C"/>
      </a:accent2>
      <a:accent3>
        <a:srgbClr val="9C6126"/>
      </a:accent3>
      <a:accent4>
        <a:srgbClr val="ED1C26"/>
      </a:accent4>
      <a:accent5>
        <a:srgbClr val="F15F23"/>
      </a:accent5>
      <a:accent6>
        <a:srgbClr val="A8CF3B"/>
      </a:accent6>
      <a:hlink>
        <a:srgbClr val="0065B2"/>
      </a:hlink>
      <a:folHlink>
        <a:srgbClr val="8E459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</TotalTime>
  <Words>1583</Words>
  <Application>Microsoft Office PowerPoint</Application>
  <PresentationFormat>Widescreen</PresentationFormat>
  <Paragraphs>176</Paragraphs>
  <Slides>2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Arial</vt:lpstr>
      <vt:lpstr>Arial Black</vt:lpstr>
      <vt:lpstr>Calibri</vt:lpstr>
      <vt:lpstr>Symbol</vt:lpstr>
      <vt:lpstr>Wingdings</vt:lpstr>
      <vt:lpstr>Office Theme</vt:lpstr>
      <vt:lpstr>MPH Gold</vt:lpstr>
      <vt:lpstr>Medicare Model of Care</vt:lpstr>
      <vt:lpstr>OBJECTIVES</vt:lpstr>
      <vt:lpstr>WHY DO WE PROVIDE THIS TRAINING? </vt:lpstr>
      <vt:lpstr>SPECIAL NEEDS PLAN </vt:lpstr>
      <vt:lpstr>CARE MANAGEMENT SERVICES FOR MEDICARE MEMBERS </vt:lpstr>
      <vt:lpstr>WHO ARE THE INTERDISCIPLINARY TEAM (ICT) MEMBERS </vt:lpstr>
      <vt:lpstr>WHAT IS A PLAN OF CARE </vt:lpstr>
      <vt:lpstr>HEALTH RISK ASSESSMENT (HRA) </vt:lpstr>
      <vt:lpstr>HEALTH RISK ASSESSMENT </vt:lpstr>
      <vt:lpstr>TRANSITION OF CARE (TOC) </vt:lpstr>
      <vt:lpstr>YOUR ROLE AS A  PROVIDER</vt:lpstr>
      <vt:lpstr>RESOURCES </vt:lpstr>
      <vt:lpstr>PowerPoint Presentation</vt:lpstr>
      <vt:lpstr>Social  Determinants of  Health (SDoH)</vt:lpstr>
      <vt:lpstr>SOCIAL DETERMINANTS OF HEALTH </vt:lpstr>
      <vt:lpstr>WHAT WE KNOW </vt:lpstr>
      <vt:lpstr>FINDHELP </vt:lpstr>
      <vt:lpstr>FIND HELP SEARCH TERM AND REFERRAL DATA</vt:lpstr>
      <vt:lpstr>Food programs for  Medicare members</vt:lpstr>
      <vt:lpstr>FOOD PROGRAMS WE OFFER</vt:lpstr>
      <vt:lpstr>DISCHARGE MEDICALLY TAILORED MEALS </vt:lpstr>
      <vt:lpstr>Other Medicare  Benefit</vt:lpstr>
      <vt:lpstr>PowerPoint Presentation</vt:lpstr>
      <vt:lpstr>SDoH QUESTIONS?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Blanc, Ruth</cp:lastModifiedBy>
  <cp:revision>1</cp:revision>
  <dcterms:created xsi:type="dcterms:W3CDTF">2024-09-11T14:07:55Z</dcterms:created>
  <dcterms:modified xsi:type="dcterms:W3CDTF">2024-09-11T14:53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4-09-10T00:00:00Z</vt:filetime>
  </property>
  <property fmtid="{D5CDD505-2E9C-101B-9397-08002B2CF9AE}" pid="3" name="Creator">
    <vt:lpwstr>Acrobat PDFMaker 24 for PowerPoint</vt:lpwstr>
  </property>
  <property fmtid="{D5CDD505-2E9C-101B-9397-08002B2CF9AE}" pid="4" name="LastSaved">
    <vt:filetime>2024-09-11T00:00:00Z</vt:filetime>
  </property>
</Properties>
</file>